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media/image11.svg" ContentType="image/svg+xml"/>
  <Override PartName="/ppt/media/image13.svg" ContentType="image/svg+xml"/>
  <Override PartName="/ppt/media/image15.svg" ContentType="image/svg+xml"/>
  <Override PartName="/ppt/media/image17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12"/>
  </p:handoutMasterIdLst>
  <p:sldIdLst>
    <p:sldId id="257" r:id="rId3"/>
    <p:sldId id="5956" r:id="rId5"/>
    <p:sldId id="5993" r:id="rId6"/>
    <p:sldId id="5959" r:id="rId7"/>
    <p:sldId id="5995" r:id="rId8"/>
    <p:sldId id="5998" r:id="rId9"/>
    <p:sldId id="6002" r:id="rId10"/>
    <p:sldId id="267" r:id="rId11"/>
  </p:sldIdLst>
  <p:sldSz cx="12192000" cy="6858000"/>
  <p:notesSz cx="9144000" cy="6858000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36" userDrawn="1">
          <p15:clr>
            <a:srgbClr val="A4A3A4"/>
          </p15:clr>
        </p15:guide>
        <p15:guide id="2" pos="435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邵阳" initials="邵" lastIdx="2" clrIdx="0"/>
  <p:cmAuthor id="1" name="麦耀泉" initials="麦耀泉" lastIdx="1" clrIdx="0"/>
  <p:cmAuthor id="2" name="作者" initials="A" lastIdx="0" clrIdx="1"/>
  <p:cmAuthor id="3" name="黎 茂林" initials="黎" lastIdx="1" clrIdx="2"/>
  <p:cmAuthor id="4" name="陈 思" initials="陈" lastIdx="1" clrIdx="3"/>
  <p:cmAuthor id="5" name="马博" initials="马博" lastIdx="2" clrIdx="4"/>
  <p:cmAuthor id="6" name="zpz" initials="z" lastIdx="1" clrIdx="5"/>
  <p:cmAuthor id="7" name="徐挺" initials="A" lastIdx="1" clrIdx="6"/>
  <p:cmAuthor id="8" name="pengyu.chenpy" initials="p" lastIdx="1" clrIdx="4"/>
  <p:cmAuthor id="9" name="Charles Caize Guo" initials="cguo" lastIdx="7" clrIdx="9"/>
  <p:cmAuthor id="10" name="James Shihao Zhou" initials="jamezhou" lastIdx="43" clrIdx="10"/>
  <p:cmAuthor id="11" name="Emily Lu Chen" initials="emilchen" lastIdx="3" clrIdx="11"/>
  <p:cmAuthor id="12" name="Windows 用户" initials="W用" lastIdx="8" clrIdx="12"/>
  <p:cmAuthor id="13" name="wang luyan" initials="wl" lastIdx="1" clrIdx="13"/>
  <p:cmAuthor id="14" name="Happy" initials="H" lastIdx="2" clrIdx="14"/>
  <p:cmAuthor id="15" name="sigema01@163.com" initials="s" lastIdx="1" clrIdx="1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06A31"/>
    <a:srgbClr val="A2C1FF"/>
    <a:srgbClr val="2B72FF"/>
    <a:srgbClr val="3875C6"/>
    <a:srgbClr val="6694FF"/>
    <a:srgbClr val="FFFFFF"/>
    <a:srgbClr val="FFFFE9"/>
    <a:srgbClr val="E3E3E3"/>
    <a:srgbClr val="F7DADF"/>
    <a:srgbClr val="EA78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70" autoAdjust="0"/>
    <p:restoredTop sz="95742" autoAdjust="0"/>
  </p:normalViewPr>
  <p:slideViewPr>
    <p:cSldViewPr snapToGrid="0" showGuides="1">
      <p:cViewPr varScale="1">
        <p:scale>
          <a:sx n="81" d="100"/>
          <a:sy n="81" d="100"/>
        </p:scale>
        <p:origin x="672" y="53"/>
      </p:cViewPr>
      <p:guideLst>
        <p:guide orient="horz" pos="1936"/>
        <p:guide pos="435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7" Type="http://schemas.openxmlformats.org/officeDocument/2006/relationships/tags" Target="tags/tag36.xml"/><Relationship Id="rId16" Type="http://schemas.openxmlformats.org/officeDocument/2006/relationships/commentAuthors" Target="commentAuthors.xml"/><Relationship Id="rId15" Type="http://schemas.openxmlformats.org/officeDocument/2006/relationships/tableStyles" Target="tableStyles.xml"/><Relationship Id="rId14" Type="http://schemas.openxmlformats.org/officeDocument/2006/relationships/viewProps" Target="viewProps.xml"/><Relationship Id="rId13" Type="http://schemas.openxmlformats.org/officeDocument/2006/relationships/presProps" Target="presProps.xml"/><Relationship Id="rId12" Type="http://schemas.openxmlformats.org/officeDocument/2006/relationships/handoutMaster" Target="handoutMasters/handoutMaster1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6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6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6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6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330C37-F88B-4B66-A50E-57F15739DB3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CDCE54-4AED-41F3-902F-0DF19FED81B4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DCE54-4AED-41F3-902F-0DF19FED81B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050" y="0"/>
            <a:ext cx="12172950" cy="6858000"/>
          </a:xfrm>
          <a:prstGeom prst="rect">
            <a:avLst/>
          </a:prstGeom>
        </p:spPr>
      </p:pic>
      <p:sp>
        <p:nvSpPr>
          <p:cNvPr id="7" name="矩形 6"/>
          <p:cNvSpPr/>
          <p:nvPr userDrawn="1"/>
        </p:nvSpPr>
        <p:spPr>
          <a:xfrm>
            <a:off x="7165340" y="3183890"/>
            <a:ext cx="5026660" cy="2617470"/>
          </a:xfrm>
          <a:prstGeom prst="rect">
            <a:avLst/>
          </a:pr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600" i="1">
                <a:solidFill>
                  <a:srgbClr val="F6F6F6"/>
                </a:solidFill>
                <a:effectLst>
                  <a:reflection blurRad="6350" stA="55000" endA="50" endPos="85000" dist="60007" dir="5400000" sy="-100000" algn="bl" rotWithShape="0"/>
                </a:effectLst>
                <a:latin typeface="MingLiU_HKSCS-ExtB" panose="02020500000000000000" charset="-120"/>
                <a:ea typeface="MingLiU_HKSCS-ExtB" panose="02020500000000000000" charset="-120"/>
              </a:rPr>
              <a:t>Skyland</a:t>
            </a:r>
            <a:endParaRPr lang="en-US" altLang="zh-CN" sz="9600" i="1">
              <a:solidFill>
                <a:srgbClr val="F6F6F6"/>
              </a:solidFill>
              <a:effectLst>
                <a:reflection blurRad="6350" stA="55000" endA="50" endPos="85000" dist="60007" dir="5400000" sy="-100000" algn="bl" rotWithShape="0"/>
              </a:effectLst>
              <a:latin typeface="MingLiU_HKSCS-ExtB" panose="02020500000000000000" charset="-120"/>
              <a:ea typeface="MingLiU_HKSCS-ExtB" panose="02020500000000000000" charset="-120"/>
            </a:endParaRPr>
          </a:p>
        </p:txBody>
      </p:sp>
      <p:pic>
        <p:nvPicPr>
          <p:cNvPr id="26" name="图片 25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 rot="10800000">
            <a:off x="1905" y="635"/>
            <a:ext cx="12216765" cy="1571625"/>
          </a:xfrm>
          <a:prstGeom prst="rect">
            <a:avLst/>
          </a:prstGeom>
        </p:spPr>
      </p:pic>
      <p:sp>
        <p:nvSpPr>
          <p:cNvPr id="28" name="矩形 27"/>
          <p:cNvSpPr/>
          <p:nvPr userDrawn="1"/>
        </p:nvSpPr>
        <p:spPr>
          <a:xfrm>
            <a:off x="489585" y="6427470"/>
            <a:ext cx="3209290" cy="25781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/>
          <a:p>
            <a:pPr indent="0" algn="l"/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© Copyright by </a:t>
            </a:r>
            <a:r>
              <a:rPr lang="en-US" sz="11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Skyland</a:t>
            </a: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 All rights reserved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  <p:sp>
        <p:nvSpPr>
          <p:cNvPr id="10" name="任意多边形: 形状 9"/>
          <p:cNvSpPr/>
          <p:nvPr userDrawn="1"/>
        </p:nvSpPr>
        <p:spPr>
          <a:xfrm rot="8100000" flipV="1">
            <a:off x="3260380" y="6136289"/>
            <a:ext cx="1482053" cy="1482053"/>
          </a:xfrm>
          <a:custGeom>
            <a:avLst/>
            <a:gdLst>
              <a:gd name="connsiteX0" fmla="*/ 139616 w 3315598"/>
              <a:gd name="connsiteY0" fmla="*/ 139616 h 3315598"/>
              <a:gd name="connsiteX1" fmla="*/ 476677 w 3315598"/>
              <a:gd name="connsiteY1" fmla="*/ 0 h 3315598"/>
              <a:gd name="connsiteX2" fmla="*/ 3315598 w 3315598"/>
              <a:gd name="connsiteY2" fmla="*/ 0 h 3315598"/>
              <a:gd name="connsiteX3" fmla="*/ 0 w 3315598"/>
              <a:gd name="connsiteY3" fmla="*/ 3315598 h 3315598"/>
              <a:gd name="connsiteX4" fmla="*/ 0 w 3315598"/>
              <a:gd name="connsiteY4" fmla="*/ 476677 h 3315598"/>
              <a:gd name="connsiteX5" fmla="*/ 139616 w 3315598"/>
              <a:gd name="connsiteY5" fmla="*/ 139616 h 3315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5598" h="3315598">
                <a:moveTo>
                  <a:pt x="139616" y="139616"/>
                </a:moveTo>
                <a:cubicBezTo>
                  <a:pt x="225877" y="53354"/>
                  <a:pt x="345046" y="0"/>
                  <a:pt x="476677" y="0"/>
                </a:cubicBezTo>
                <a:lnTo>
                  <a:pt x="3315598" y="0"/>
                </a:lnTo>
                <a:lnTo>
                  <a:pt x="0" y="3315598"/>
                </a:lnTo>
                <a:lnTo>
                  <a:pt x="0" y="476677"/>
                </a:lnTo>
                <a:cubicBezTo>
                  <a:pt x="0" y="345046"/>
                  <a:pt x="53354" y="225877"/>
                  <a:pt x="139616" y="139616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任意多边形: 形状 13"/>
          <p:cNvSpPr/>
          <p:nvPr userDrawn="1"/>
        </p:nvSpPr>
        <p:spPr>
          <a:xfrm rot="13500000">
            <a:off x="1089647" y="-627944"/>
            <a:ext cx="1255886" cy="1255885"/>
          </a:xfrm>
          <a:custGeom>
            <a:avLst/>
            <a:gdLst>
              <a:gd name="connsiteX0" fmla="*/ 139616 w 3315598"/>
              <a:gd name="connsiteY0" fmla="*/ 139616 h 3315598"/>
              <a:gd name="connsiteX1" fmla="*/ 476677 w 3315598"/>
              <a:gd name="connsiteY1" fmla="*/ 0 h 3315598"/>
              <a:gd name="connsiteX2" fmla="*/ 3315598 w 3315598"/>
              <a:gd name="connsiteY2" fmla="*/ 0 h 3315598"/>
              <a:gd name="connsiteX3" fmla="*/ 0 w 3315598"/>
              <a:gd name="connsiteY3" fmla="*/ 3315598 h 3315598"/>
              <a:gd name="connsiteX4" fmla="*/ 0 w 3315598"/>
              <a:gd name="connsiteY4" fmla="*/ 476677 h 3315598"/>
              <a:gd name="connsiteX5" fmla="*/ 139616 w 3315598"/>
              <a:gd name="connsiteY5" fmla="*/ 139616 h 3315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5598" h="3315598">
                <a:moveTo>
                  <a:pt x="139616" y="139616"/>
                </a:moveTo>
                <a:cubicBezTo>
                  <a:pt x="225877" y="53354"/>
                  <a:pt x="345046" y="0"/>
                  <a:pt x="476677" y="0"/>
                </a:cubicBezTo>
                <a:lnTo>
                  <a:pt x="3315598" y="0"/>
                </a:lnTo>
                <a:lnTo>
                  <a:pt x="0" y="3315598"/>
                </a:lnTo>
                <a:lnTo>
                  <a:pt x="0" y="476677"/>
                </a:lnTo>
                <a:cubicBezTo>
                  <a:pt x="0" y="345046"/>
                  <a:pt x="53354" y="225877"/>
                  <a:pt x="139616" y="139616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" name="任意多边形: 形状 9"/>
          <p:cNvSpPr/>
          <p:nvPr userDrawn="1"/>
        </p:nvSpPr>
        <p:spPr>
          <a:xfrm rot="8100000" flipV="1">
            <a:off x="3679480" y="6136289"/>
            <a:ext cx="1482053" cy="1482053"/>
          </a:xfrm>
          <a:custGeom>
            <a:avLst/>
            <a:gdLst>
              <a:gd name="connsiteX0" fmla="*/ 139616 w 3315598"/>
              <a:gd name="connsiteY0" fmla="*/ 139616 h 3315598"/>
              <a:gd name="connsiteX1" fmla="*/ 476677 w 3315598"/>
              <a:gd name="connsiteY1" fmla="*/ 0 h 3315598"/>
              <a:gd name="connsiteX2" fmla="*/ 3315598 w 3315598"/>
              <a:gd name="connsiteY2" fmla="*/ 0 h 3315598"/>
              <a:gd name="connsiteX3" fmla="*/ 0 w 3315598"/>
              <a:gd name="connsiteY3" fmla="*/ 3315598 h 3315598"/>
              <a:gd name="connsiteX4" fmla="*/ 0 w 3315598"/>
              <a:gd name="connsiteY4" fmla="*/ 476677 h 3315598"/>
              <a:gd name="connsiteX5" fmla="*/ 139616 w 3315598"/>
              <a:gd name="connsiteY5" fmla="*/ 139616 h 3315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5598" h="3315598">
                <a:moveTo>
                  <a:pt x="139616" y="139616"/>
                </a:moveTo>
                <a:cubicBezTo>
                  <a:pt x="225877" y="53354"/>
                  <a:pt x="345046" y="0"/>
                  <a:pt x="476677" y="0"/>
                </a:cubicBezTo>
                <a:lnTo>
                  <a:pt x="3315598" y="0"/>
                </a:lnTo>
                <a:lnTo>
                  <a:pt x="0" y="3315598"/>
                </a:lnTo>
                <a:lnTo>
                  <a:pt x="0" y="476677"/>
                </a:lnTo>
                <a:cubicBezTo>
                  <a:pt x="0" y="345046"/>
                  <a:pt x="53354" y="225877"/>
                  <a:pt x="139616" y="139616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任意多边形: 形状 13"/>
          <p:cNvSpPr/>
          <p:nvPr userDrawn="1"/>
        </p:nvSpPr>
        <p:spPr>
          <a:xfrm rot="13500000">
            <a:off x="1569072" y="-626039"/>
            <a:ext cx="1255886" cy="1255885"/>
          </a:xfrm>
          <a:custGeom>
            <a:avLst/>
            <a:gdLst>
              <a:gd name="connsiteX0" fmla="*/ 139616 w 3315598"/>
              <a:gd name="connsiteY0" fmla="*/ 139616 h 3315598"/>
              <a:gd name="connsiteX1" fmla="*/ 476677 w 3315598"/>
              <a:gd name="connsiteY1" fmla="*/ 0 h 3315598"/>
              <a:gd name="connsiteX2" fmla="*/ 3315598 w 3315598"/>
              <a:gd name="connsiteY2" fmla="*/ 0 h 3315598"/>
              <a:gd name="connsiteX3" fmla="*/ 0 w 3315598"/>
              <a:gd name="connsiteY3" fmla="*/ 3315598 h 3315598"/>
              <a:gd name="connsiteX4" fmla="*/ 0 w 3315598"/>
              <a:gd name="connsiteY4" fmla="*/ 476677 h 3315598"/>
              <a:gd name="connsiteX5" fmla="*/ 139616 w 3315598"/>
              <a:gd name="connsiteY5" fmla="*/ 139616 h 3315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5598" h="3315598">
                <a:moveTo>
                  <a:pt x="139616" y="139616"/>
                </a:moveTo>
                <a:cubicBezTo>
                  <a:pt x="225877" y="53354"/>
                  <a:pt x="345046" y="0"/>
                  <a:pt x="476677" y="0"/>
                </a:cubicBezTo>
                <a:lnTo>
                  <a:pt x="3315598" y="0"/>
                </a:lnTo>
                <a:lnTo>
                  <a:pt x="0" y="3315598"/>
                </a:lnTo>
                <a:lnTo>
                  <a:pt x="0" y="476677"/>
                </a:lnTo>
                <a:cubicBezTo>
                  <a:pt x="0" y="345046"/>
                  <a:pt x="53354" y="225877"/>
                  <a:pt x="139616" y="139616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bg>
      <p:bgPr>
        <a:solidFill>
          <a:srgbClr val="E5F1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612000" y="6314400"/>
            <a:ext cx="2700000" cy="316800"/>
          </a:xfrm>
        </p:spPr>
        <p:txBody>
          <a:bodyPr wrap="square">
            <a:normAutofit/>
          </a:bodyPr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4116000" y="6314400"/>
            <a:ext cx="3960000" cy="316800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877600" y="6314400"/>
            <a:ext cx="2700000" cy="316800"/>
          </a:xfrm>
        </p:spPr>
        <p:txBody>
          <a:bodyPr wrap="square">
            <a:normAutofit/>
          </a:bodyPr>
          <a:lstStyle/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  <p:sp>
        <p:nvSpPr>
          <p:cNvPr id="6" name="标题 5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08400" y="608400"/>
            <a:ext cx="10969200" cy="7056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635" y="0"/>
            <a:ext cx="12191365" cy="6858000"/>
          </a:xfrm>
          <a:prstGeom prst="rect">
            <a:avLst/>
          </a:prstGeom>
        </p:spPr>
      </p:pic>
      <p:sp>
        <p:nvSpPr>
          <p:cNvPr id="56" name="矩形 55"/>
          <p:cNvSpPr/>
          <p:nvPr userDrawn="1"/>
        </p:nvSpPr>
        <p:spPr>
          <a:xfrm>
            <a:off x="0" y="0"/>
            <a:ext cx="12192000" cy="712470"/>
          </a:xfrm>
          <a:prstGeom prst="rect">
            <a:avLst/>
          </a:prstGeom>
          <a:solidFill>
            <a:srgbClr val="2B7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/>
          <p:cNvSpPr/>
          <p:nvPr userDrawn="1"/>
        </p:nvSpPr>
        <p:spPr>
          <a:xfrm>
            <a:off x="186055" y="0"/>
            <a:ext cx="11942445" cy="712470"/>
          </a:xfrm>
          <a:prstGeom prst="rect">
            <a:avLst/>
          </a:prstGeom>
          <a:solidFill>
            <a:schemeClr val="bg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矩形 55"/>
          <p:cNvSpPr/>
          <p:nvPr userDrawn="1"/>
        </p:nvSpPr>
        <p:spPr>
          <a:xfrm>
            <a:off x="0" y="0"/>
            <a:ext cx="12192000" cy="712470"/>
          </a:xfrm>
          <a:prstGeom prst="rect">
            <a:avLst/>
          </a:prstGeom>
          <a:solidFill>
            <a:srgbClr val="2B7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/>
          <p:cNvSpPr/>
          <p:nvPr userDrawn="1"/>
        </p:nvSpPr>
        <p:spPr>
          <a:xfrm>
            <a:off x="186055" y="0"/>
            <a:ext cx="11942445" cy="712470"/>
          </a:xfrm>
          <a:prstGeom prst="rect">
            <a:avLst/>
          </a:prstGeom>
          <a:solidFill>
            <a:schemeClr val="bg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 userDrawn="1"/>
        </p:nvSpPr>
        <p:spPr>
          <a:xfrm rot="2771214">
            <a:off x="8467642" y="1064204"/>
            <a:ext cx="5333949" cy="6283808"/>
          </a:xfrm>
          <a:custGeom>
            <a:avLst/>
            <a:gdLst>
              <a:gd name="connsiteX0" fmla="*/ 148288 w 5333949"/>
              <a:gd name="connsiteY0" fmla="*/ 148288 h 6283808"/>
              <a:gd name="connsiteX1" fmla="*/ 506286 w 5333949"/>
              <a:gd name="connsiteY1" fmla="*/ 0 h 6283808"/>
              <a:gd name="connsiteX2" fmla="*/ 916794 w 5333949"/>
              <a:gd name="connsiteY2" fmla="*/ 0 h 6283808"/>
              <a:gd name="connsiteX3" fmla="*/ 5333949 w 5333949"/>
              <a:gd name="connsiteY3" fmla="*/ 4237839 h 6283808"/>
              <a:gd name="connsiteX4" fmla="*/ 3371037 w 5333949"/>
              <a:gd name="connsiteY4" fmla="*/ 6283808 h 6283808"/>
              <a:gd name="connsiteX5" fmla="*/ 506286 w 5333949"/>
              <a:gd name="connsiteY5" fmla="*/ 6283808 h 6283808"/>
              <a:gd name="connsiteX6" fmla="*/ 0 w 5333949"/>
              <a:gd name="connsiteY6" fmla="*/ 5777522 h 6283808"/>
              <a:gd name="connsiteX7" fmla="*/ 0 w 5333949"/>
              <a:gd name="connsiteY7" fmla="*/ 506286 h 6283808"/>
              <a:gd name="connsiteX8" fmla="*/ 148288 w 5333949"/>
              <a:gd name="connsiteY8" fmla="*/ 148288 h 6283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333949" h="6283808">
                <a:moveTo>
                  <a:pt x="148288" y="148288"/>
                </a:moveTo>
                <a:cubicBezTo>
                  <a:pt x="239908" y="56668"/>
                  <a:pt x="366480" y="-1"/>
                  <a:pt x="506286" y="0"/>
                </a:cubicBezTo>
                <a:lnTo>
                  <a:pt x="916794" y="0"/>
                </a:lnTo>
                <a:lnTo>
                  <a:pt x="5333949" y="4237839"/>
                </a:lnTo>
                <a:lnTo>
                  <a:pt x="3371037" y="6283808"/>
                </a:lnTo>
                <a:lnTo>
                  <a:pt x="506286" y="6283808"/>
                </a:lnTo>
                <a:cubicBezTo>
                  <a:pt x="226672" y="6283808"/>
                  <a:pt x="0" y="6057136"/>
                  <a:pt x="0" y="5777522"/>
                </a:cubicBezTo>
                <a:lnTo>
                  <a:pt x="0" y="506286"/>
                </a:lnTo>
                <a:cubicBezTo>
                  <a:pt x="0" y="366479"/>
                  <a:pt x="56669" y="239907"/>
                  <a:pt x="148288" y="148288"/>
                </a:cubicBezTo>
                <a:close/>
              </a:path>
            </a:pathLst>
          </a:custGeom>
          <a:blipFill dpi="0" rotWithShape="0">
            <a:blip r:embed="rId2" cstate="print"/>
            <a:srcRect/>
            <a:stretch>
              <a:fillRect/>
            </a:stretch>
          </a:blipFill>
          <a:ln>
            <a:noFill/>
          </a:ln>
          <a:effectLst>
            <a:innerShdw blurRad="215900">
              <a:schemeClr val="accent5">
                <a:lumMod val="75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610855" y="1533727"/>
            <a:ext cx="8356600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9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610855" y="3839963"/>
            <a:ext cx="8356600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1610857" y="3543692"/>
            <a:ext cx="8356600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5" name="任意多边形: 形状 4"/>
          <p:cNvSpPr/>
          <p:nvPr userDrawn="1"/>
        </p:nvSpPr>
        <p:spPr>
          <a:xfrm rot="2700000">
            <a:off x="4764109" y="5200201"/>
            <a:ext cx="3315598" cy="3315598"/>
          </a:xfrm>
          <a:custGeom>
            <a:avLst/>
            <a:gdLst>
              <a:gd name="connsiteX0" fmla="*/ 139616 w 3315598"/>
              <a:gd name="connsiteY0" fmla="*/ 139616 h 3315598"/>
              <a:gd name="connsiteX1" fmla="*/ 476677 w 3315598"/>
              <a:gd name="connsiteY1" fmla="*/ 0 h 3315598"/>
              <a:gd name="connsiteX2" fmla="*/ 3315598 w 3315598"/>
              <a:gd name="connsiteY2" fmla="*/ 0 h 3315598"/>
              <a:gd name="connsiteX3" fmla="*/ 0 w 3315598"/>
              <a:gd name="connsiteY3" fmla="*/ 3315598 h 3315598"/>
              <a:gd name="connsiteX4" fmla="*/ 0 w 3315598"/>
              <a:gd name="connsiteY4" fmla="*/ 476677 h 3315598"/>
              <a:gd name="connsiteX5" fmla="*/ 139616 w 3315598"/>
              <a:gd name="connsiteY5" fmla="*/ 139616 h 3315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5598" h="3315598">
                <a:moveTo>
                  <a:pt x="139616" y="139616"/>
                </a:moveTo>
                <a:cubicBezTo>
                  <a:pt x="225877" y="53354"/>
                  <a:pt x="345046" y="0"/>
                  <a:pt x="476677" y="0"/>
                </a:cubicBezTo>
                <a:lnTo>
                  <a:pt x="3315598" y="0"/>
                </a:lnTo>
                <a:lnTo>
                  <a:pt x="0" y="3315598"/>
                </a:lnTo>
                <a:lnTo>
                  <a:pt x="0" y="476677"/>
                </a:lnTo>
                <a:cubicBezTo>
                  <a:pt x="0" y="345046"/>
                  <a:pt x="53354" y="225877"/>
                  <a:pt x="139616" y="139616"/>
                </a:cubicBezTo>
                <a:close/>
              </a:path>
            </a:pathLst>
          </a:custGeom>
          <a:gradFill>
            <a:gsLst>
              <a:gs pos="2000">
                <a:schemeClr val="accent1"/>
              </a:gs>
              <a:gs pos="61000">
                <a:schemeClr val="accent3">
                  <a:alpha val="77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空白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直接连接符 12"/>
          <p:cNvCxnSpPr/>
          <p:nvPr userDrawn="1"/>
        </p:nvCxnSpPr>
        <p:spPr bwMode="auto">
          <a:xfrm>
            <a:off x="4406701" y="665051"/>
            <a:ext cx="7790073" cy="0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 userDrawn="1"/>
        </p:nvCxnSpPr>
        <p:spPr bwMode="auto">
          <a:xfrm>
            <a:off x="-8546" y="669325"/>
            <a:ext cx="12186285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rgbClr val="2B72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6" name="矩形 55"/>
          <p:cNvSpPr/>
          <p:nvPr userDrawn="1"/>
        </p:nvSpPr>
        <p:spPr>
          <a:xfrm>
            <a:off x="0" y="0"/>
            <a:ext cx="10360025" cy="587375"/>
          </a:xfrm>
          <a:prstGeom prst="rect">
            <a:avLst/>
          </a:prstGeom>
          <a:solidFill>
            <a:srgbClr val="2B7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/>
          <p:cNvSpPr/>
          <p:nvPr userDrawn="1"/>
        </p:nvSpPr>
        <p:spPr>
          <a:xfrm>
            <a:off x="186055" y="0"/>
            <a:ext cx="10264775" cy="587375"/>
          </a:xfrm>
          <a:prstGeom prst="rect">
            <a:avLst/>
          </a:prstGeom>
          <a:solidFill>
            <a:schemeClr val="bg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图片 25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 rot="10800000">
            <a:off x="1905" y="635"/>
            <a:ext cx="12216765" cy="1057275"/>
          </a:xfrm>
          <a:prstGeom prst="rect">
            <a:avLst/>
          </a:prstGeom>
        </p:spPr>
      </p:pic>
      <p:grpSp>
        <p:nvGrpSpPr>
          <p:cNvPr id="2" name="组合 1"/>
          <p:cNvGrpSpPr/>
          <p:nvPr userDrawn="1"/>
        </p:nvGrpSpPr>
        <p:grpSpPr>
          <a:xfrm>
            <a:off x="152445" y="151472"/>
            <a:ext cx="396000" cy="396000"/>
            <a:chOff x="406574" y="236732"/>
            <a:chExt cx="612048" cy="593261"/>
          </a:xfrm>
        </p:grpSpPr>
        <p:sp>
          <p:nvSpPr>
            <p:cNvPr id="3" name="矩形 2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矩形 3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1" name="矩形 10"/>
          <p:cNvSpPr/>
          <p:nvPr userDrawn="1"/>
        </p:nvSpPr>
        <p:spPr>
          <a:xfrm>
            <a:off x="9717975" y="6516343"/>
            <a:ext cx="2183038" cy="134408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/>
          <a:p>
            <a:pPr indent="0" algn="r"/>
            <a:r>
              <a:rPr lang="en-US" sz="800" dirty="0">
                <a:solidFill>
                  <a:schemeClr val="tx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© Copyright by </a:t>
            </a:r>
            <a:r>
              <a:rPr lang="en-US" sz="800" dirty="0" err="1">
                <a:solidFill>
                  <a:schemeClr val="tx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Skyland</a:t>
            </a:r>
            <a:r>
              <a:rPr lang="en-US" sz="800" dirty="0">
                <a:solidFill>
                  <a:schemeClr val="tx1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rPr>
              <a:t> All rights reserved</a:t>
            </a:r>
            <a:endParaRPr lang="en-US" sz="800" dirty="0">
              <a:solidFill>
                <a:schemeClr val="tx1"/>
              </a:solidFill>
              <a:latin typeface="微软雅黑 Light" panose="020B0502040204020203" pitchFamily="34" charset="-122"/>
              <a:ea typeface="微软雅黑 Light" panose="020B0502040204020203" pitchFamily="34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723265"/>
            <a:ext cx="12191365" cy="6134100"/>
          </a:xfrm>
          <a:prstGeom prst="rect">
            <a:avLst/>
          </a:prstGeom>
        </p:spPr>
      </p:pic>
      <p:pic>
        <p:nvPicPr>
          <p:cNvPr id="26" name="图片 25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 rot="10800000">
            <a:off x="1905" y="635"/>
            <a:ext cx="12216765" cy="1057275"/>
          </a:xfrm>
          <a:prstGeom prst="rect">
            <a:avLst/>
          </a:prstGeom>
        </p:spPr>
      </p:pic>
      <p:grpSp>
        <p:nvGrpSpPr>
          <p:cNvPr id="6" name="组合 5"/>
          <p:cNvGrpSpPr/>
          <p:nvPr userDrawn="1"/>
        </p:nvGrpSpPr>
        <p:grpSpPr>
          <a:xfrm>
            <a:off x="152445" y="151472"/>
            <a:ext cx="396000" cy="396000"/>
            <a:chOff x="406574" y="236732"/>
            <a:chExt cx="612048" cy="593261"/>
          </a:xfrm>
        </p:grpSpPr>
        <p:sp>
          <p:nvSpPr>
            <p:cNvPr id="8" name="矩形 7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1301928" y="7272298"/>
            <a:ext cx="2700000" cy="316800"/>
          </a:xfrm>
        </p:spPr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4805928" y="7272298"/>
            <a:ext cx="3960000" cy="3168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9567528" y="7272298"/>
            <a:ext cx="2700000" cy="316800"/>
          </a:xfrm>
        </p:spPr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hemeOverride" Target="../theme/themeOverride1.xml"/><Relationship Id="rId3" Type="http://schemas.openxmlformats.org/officeDocument/2006/relationships/tags" Target="../tags/tag8.xml"/><Relationship Id="rId2" Type="http://schemas.openxmlformats.org/officeDocument/2006/relationships/image" Target="../media/image5.emf"/><Relationship Id="rId1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0.xml"/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tags" Target="../tags/tag17.xml"/><Relationship Id="rId8" Type="http://schemas.openxmlformats.org/officeDocument/2006/relationships/tags" Target="../tags/tag16.xml"/><Relationship Id="rId7" Type="http://schemas.openxmlformats.org/officeDocument/2006/relationships/tags" Target="../tags/tag15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35" Type="http://schemas.openxmlformats.org/officeDocument/2006/relationships/slideLayout" Target="../slideLayouts/slideLayout10.xml"/><Relationship Id="rId34" Type="http://schemas.openxmlformats.org/officeDocument/2006/relationships/tags" Target="../tags/tag34.xml"/><Relationship Id="rId33" Type="http://schemas.openxmlformats.org/officeDocument/2006/relationships/tags" Target="../tags/tag33.xml"/><Relationship Id="rId32" Type="http://schemas.openxmlformats.org/officeDocument/2006/relationships/tags" Target="../tags/tag32.xml"/><Relationship Id="rId31" Type="http://schemas.openxmlformats.org/officeDocument/2006/relationships/tags" Target="../tags/tag31.xml"/><Relationship Id="rId30" Type="http://schemas.openxmlformats.org/officeDocument/2006/relationships/tags" Target="../tags/tag30.xml"/><Relationship Id="rId3" Type="http://schemas.openxmlformats.org/officeDocument/2006/relationships/tags" Target="../tags/tag11.xml"/><Relationship Id="rId29" Type="http://schemas.openxmlformats.org/officeDocument/2006/relationships/image" Target="../media/image17.svg"/><Relationship Id="rId28" Type="http://schemas.openxmlformats.org/officeDocument/2006/relationships/image" Target="../media/image16.png"/><Relationship Id="rId27" Type="http://schemas.openxmlformats.org/officeDocument/2006/relationships/tags" Target="../tags/tag29.xml"/><Relationship Id="rId26" Type="http://schemas.openxmlformats.org/officeDocument/2006/relationships/image" Target="../media/image15.svg"/><Relationship Id="rId25" Type="http://schemas.openxmlformats.org/officeDocument/2006/relationships/image" Target="../media/image14.png"/><Relationship Id="rId24" Type="http://schemas.openxmlformats.org/officeDocument/2006/relationships/tags" Target="../tags/tag28.xml"/><Relationship Id="rId23" Type="http://schemas.openxmlformats.org/officeDocument/2006/relationships/image" Target="../media/image13.svg"/><Relationship Id="rId22" Type="http://schemas.openxmlformats.org/officeDocument/2006/relationships/image" Target="../media/image12.png"/><Relationship Id="rId21" Type="http://schemas.openxmlformats.org/officeDocument/2006/relationships/tags" Target="../tags/tag27.xml"/><Relationship Id="rId20" Type="http://schemas.openxmlformats.org/officeDocument/2006/relationships/image" Target="../media/image11.svg"/><Relationship Id="rId2" Type="http://schemas.openxmlformats.org/officeDocument/2006/relationships/tags" Target="../tags/tag10.xml"/><Relationship Id="rId19" Type="http://schemas.openxmlformats.org/officeDocument/2006/relationships/image" Target="../media/image10.png"/><Relationship Id="rId18" Type="http://schemas.openxmlformats.org/officeDocument/2006/relationships/tags" Target="../tags/tag26.xml"/><Relationship Id="rId17" Type="http://schemas.openxmlformats.org/officeDocument/2006/relationships/tags" Target="../tags/tag25.xml"/><Relationship Id="rId16" Type="http://schemas.openxmlformats.org/officeDocument/2006/relationships/tags" Target="../tags/tag24.xml"/><Relationship Id="rId15" Type="http://schemas.openxmlformats.org/officeDocument/2006/relationships/tags" Target="../tags/tag23.xml"/><Relationship Id="rId14" Type="http://schemas.openxmlformats.org/officeDocument/2006/relationships/tags" Target="../tags/tag22.xml"/><Relationship Id="rId13" Type="http://schemas.openxmlformats.org/officeDocument/2006/relationships/tags" Target="../tags/tag21.xml"/><Relationship Id="rId12" Type="http://schemas.openxmlformats.org/officeDocument/2006/relationships/tags" Target="../tags/tag20.xml"/><Relationship Id="rId11" Type="http://schemas.openxmlformats.org/officeDocument/2006/relationships/tags" Target="../tags/tag19.xml"/><Relationship Id="rId10" Type="http://schemas.openxmlformats.org/officeDocument/2006/relationships/tags" Target="../tags/tag18.xml"/><Relationship Id="rId1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" name="think-cell Slide" r:id="rId1" imgW="0" imgH="0" progId="">
                  <p:embed/>
                </p:oleObj>
              </mc:Choice>
              <mc:Fallback>
                <p:oleObj name="think-cell Slide" r:id="rId1" imgW="0" imgH="0" progId="">
                  <p:embed/>
                  <p:pic>
                    <p:nvPicPr>
                      <p:cNvPr id="0" name="图片 1024"/>
                      <p:cNvPicPr>
                        <a:picLocks noChangeAspect="1"/>
                      </p:cNvPicPr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90204" pitchFamily="34" charset="0"/>
              <a:ea typeface="微软雅黑" panose="020B0503020204020204" pitchFamily="34" charset="-122"/>
              <a:cs typeface="+mn-cs"/>
              <a:sym typeface="Arial" panose="020B060402020209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 idx="4294967295"/>
          </p:nvPr>
        </p:nvSpPr>
        <p:spPr>
          <a:xfrm>
            <a:off x="775017" y="2555557"/>
            <a:ext cx="10457815" cy="2306955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ts val="6000"/>
              </a:lnSpc>
            </a:pPr>
            <a:r>
              <a:rPr lang="zh-CN" altLang="en-US" sz="4000" dirty="0">
                <a:solidFill>
                  <a:srgbClr val="315BF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 pitchFamily="2" charset="0"/>
              </a:rPr>
              <a:t>桥梁评价算法系统改造升级</a:t>
            </a:r>
            <a:r>
              <a:rPr lang="zh-CN" altLang="en-US" sz="4000" dirty="0">
                <a:solidFill>
                  <a:srgbClr val="315BF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Roboto" panose="02000000000000000000" pitchFamily="2" charset="0"/>
              </a:rPr>
              <a:t>初步方案</a:t>
            </a:r>
            <a:endParaRPr lang="zh-CN" altLang="en-US" sz="4000" dirty="0">
              <a:solidFill>
                <a:srgbClr val="315BF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Roboto" panose="02000000000000000000" pitchFamily="2" charset="0"/>
            </a:endParaRPr>
          </a:p>
        </p:txBody>
      </p:sp>
      <p:cxnSp>
        <p:nvCxnSpPr>
          <p:cNvPr id="9" name="直接连接符 8"/>
          <p:cNvCxnSpPr/>
          <p:nvPr/>
        </p:nvCxnSpPr>
        <p:spPr>
          <a:xfrm>
            <a:off x="918272" y="3709206"/>
            <a:ext cx="5304503" cy="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4"/>
          <p:cNvGrpSpPr/>
          <p:nvPr/>
        </p:nvGrpSpPr>
        <p:grpSpPr>
          <a:xfrm>
            <a:off x="10056495" y="5709285"/>
            <a:ext cx="1558290" cy="932815"/>
            <a:chOff x="15837" y="8991"/>
            <a:chExt cx="2454" cy="1469"/>
          </a:xfrm>
        </p:grpSpPr>
        <p:sp>
          <p:nvSpPr>
            <p:cNvPr id="21" name="矩形 20"/>
            <p:cNvSpPr/>
            <p:nvPr/>
          </p:nvSpPr>
          <p:spPr>
            <a:xfrm>
              <a:off x="16653" y="8991"/>
              <a:ext cx="889" cy="883"/>
            </a:xfrm>
            <a:prstGeom prst="rect">
              <a:avLst/>
            </a:prstGeom>
            <a:solidFill>
              <a:srgbClr val="2B7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95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  <a:sym typeface="思源黑体 CN Regular" panose="020B0500000000000000" pitchFamily="34" charset="-122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17689" y="9874"/>
              <a:ext cx="602" cy="58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95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  <a:sym typeface="思源黑体 CN Regular" panose="020B0500000000000000" pitchFamily="34" charset="-122"/>
              </a:endParaRPr>
            </a:p>
          </p:txBody>
        </p:sp>
        <p:sp>
          <p:nvSpPr>
            <p:cNvPr id="23" name="矩形 22"/>
            <p:cNvSpPr/>
            <p:nvPr/>
          </p:nvSpPr>
          <p:spPr>
            <a:xfrm>
              <a:off x="15837" y="9717"/>
              <a:ext cx="465" cy="453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95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  <a:sym typeface="思源黑体 CN Regular" panose="020B0500000000000000" pitchFamily="34" charset="-122"/>
              </a:endParaRPr>
            </a:p>
          </p:txBody>
        </p:sp>
      </p:grp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84"/>
          <p:cNvSpPr/>
          <p:nvPr/>
        </p:nvSpPr>
        <p:spPr>
          <a:xfrm>
            <a:off x="309969" y="329701"/>
            <a:ext cx="3452495" cy="290829"/>
          </a:xfrm>
          <a:prstGeom prst="rect">
            <a:avLst/>
          </a:prstGeom>
        </p:spPr>
        <p:txBody>
          <a:bodyPr vert="horz" wrap="square" lIns="0" tIns="0" rIns="0" bIns="0"/>
          <a:lstStyle/>
          <a:p>
            <a:pPr algn="l" rtl="0" eaLnBrk="0">
              <a:lnSpc>
                <a:spcPct val="84000"/>
              </a:lnSpc>
            </a:pPr>
            <a:endParaRPr lang="en-US" altLang="en-US" sz="100" dirty="0"/>
          </a:p>
          <a:p>
            <a:pPr marL="12700" algn="l" rtl="0" eaLnBrk="0">
              <a:lnSpc>
                <a:spcPct val="87000"/>
              </a:lnSpc>
            </a:pPr>
            <a:r>
              <a:rPr lang="zh-CN" altLang="en-US" sz="2000" dirty="0"/>
              <a:t>现状分析</a:t>
            </a:r>
            <a:endParaRPr lang="zh-CN" altLang="en-US" sz="2000" dirty="0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20495" y="110490"/>
            <a:ext cx="5078095" cy="6637655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6934200" y="177165"/>
            <a:ext cx="406400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/>
              <a:t>1</a:t>
            </a:r>
            <a:r>
              <a:rPr lang="zh-CN" altLang="en-US"/>
              <a:t>、调用者在调用评价系统的时候，调用链路比较长，调用相对</a:t>
            </a:r>
            <a:r>
              <a:rPr lang="zh-CN" altLang="en-US"/>
              <a:t>复杂。</a:t>
            </a:r>
            <a:endParaRPr lang="zh-CN" altLang="en-US"/>
          </a:p>
          <a:p>
            <a:endParaRPr lang="zh-CN" altLang="en-US"/>
          </a:p>
          <a:p>
            <a:r>
              <a:rPr lang="en-US" altLang="zh-CN"/>
              <a:t>2</a:t>
            </a:r>
            <a:r>
              <a:rPr lang="zh-CN" altLang="en-US"/>
              <a:t>、因考虑到系统性能问题，准备计算参数的时候，需要多次进行数据准备和调用，数据准备也相对</a:t>
            </a:r>
            <a:r>
              <a:rPr lang="zh-CN" altLang="en-US"/>
              <a:t>麻烦。</a:t>
            </a:r>
            <a:endParaRPr lang="zh-CN" altLang="en-US"/>
          </a:p>
          <a:p>
            <a:endParaRPr lang="zh-CN" altLang="en-US"/>
          </a:p>
          <a:p>
            <a:r>
              <a:rPr lang="en-US" altLang="zh-CN"/>
              <a:t>3</a:t>
            </a:r>
            <a:r>
              <a:rPr lang="zh-CN" altLang="en-US"/>
              <a:t>、没有回调机制，使用者不知道计算是否完成，只能不断进行轮询。间接的又可能增加系统的</a:t>
            </a:r>
            <a:r>
              <a:rPr lang="zh-CN" altLang="en-US"/>
              <a:t>负载</a:t>
            </a:r>
            <a:endParaRPr lang="zh-CN" altLang="en-US"/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84"/>
          <p:cNvSpPr/>
          <p:nvPr/>
        </p:nvSpPr>
        <p:spPr>
          <a:xfrm>
            <a:off x="309969" y="329701"/>
            <a:ext cx="3452495" cy="290829"/>
          </a:xfrm>
          <a:prstGeom prst="rect">
            <a:avLst/>
          </a:prstGeom>
        </p:spPr>
        <p:txBody>
          <a:bodyPr vert="horz" wrap="square" lIns="0" tIns="0" rIns="0" bIns="0"/>
          <a:lstStyle/>
          <a:p>
            <a:pPr algn="l" rtl="0" eaLnBrk="0">
              <a:lnSpc>
                <a:spcPct val="84000"/>
              </a:lnSpc>
            </a:pPr>
            <a:endParaRPr lang="en-US" altLang="en-US" sz="100" dirty="0"/>
          </a:p>
          <a:p>
            <a:pPr marL="12700" algn="l" rtl="0" eaLnBrk="0">
              <a:lnSpc>
                <a:spcPct val="87000"/>
              </a:lnSpc>
            </a:pPr>
            <a:r>
              <a:rPr lang="zh-CN" altLang="en-US" sz="2000" dirty="0"/>
              <a:t>现状分析</a:t>
            </a:r>
            <a:endParaRPr lang="zh-CN" altLang="en-US" sz="20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87805" y="98425"/>
            <a:ext cx="7663815" cy="624649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605" y="1202690"/>
            <a:ext cx="5780405" cy="546735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0080" y="2219960"/>
            <a:ext cx="2040255" cy="445008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480695" y="1407795"/>
            <a:ext cx="1220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highlight>
                  <a:srgbClr val="FFFF00"/>
                </a:highlight>
              </a:rPr>
              <a:t>系统</a:t>
            </a:r>
            <a:r>
              <a:rPr lang="zh-CN" altLang="en-US">
                <a:highlight>
                  <a:srgbClr val="FFFF00"/>
                </a:highlight>
              </a:rPr>
              <a:t>架构</a:t>
            </a:r>
            <a:endParaRPr lang="zh-CN" altLang="en-US">
              <a:highlight>
                <a:srgbClr val="FFFF00"/>
              </a:highlight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2896870" y="192405"/>
            <a:ext cx="1220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highlight>
                  <a:srgbClr val="FFFF00"/>
                </a:highlight>
              </a:rPr>
              <a:t>数据库</a:t>
            </a:r>
            <a:endParaRPr lang="zh-CN" altLang="en-US">
              <a:highlight>
                <a:srgbClr val="FFFF00"/>
              </a:highlight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7114540" y="2403475"/>
            <a:ext cx="122047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>
                <a:highlight>
                  <a:srgbClr val="FFFF00"/>
                </a:highlight>
              </a:rPr>
              <a:t>代码</a:t>
            </a:r>
            <a:r>
              <a:rPr lang="zh-CN" altLang="en-US">
                <a:highlight>
                  <a:srgbClr val="FFFF00"/>
                </a:highlight>
              </a:rPr>
              <a:t>结构</a:t>
            </a:r>
            <a:endParaRPr lang="zh-CN" altLang="en-US">
              <a:highlight>
                <a:srgbClr val="FFFF00"/>
              </a:highlight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9598025" y="192405"/>
            <a:ext cx="2346960" cy="61855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/>
              <a:t>1</a:t>
            </a:r>
            <a:r>
              <a:rPr lang="zh-CN" altLang="en-US"/>
              <a:t>系统数据库【累计</a:t>
            </a:r>
            <a:r>
              <a:rPr lang="en-US" altLang="zh-CN"/>
              <a:t>246</a:t>
            </a:r>
            <a:r>
              <a:rPr lang="zh-CN" altLang="en-US"/>
              <a:t>张表，其中大桥</a:t>
            </a:r>
            <a:r>
              <a:rPr lang="en-US" altLang="zh-CN"/>
              <a:t>141</a:t>
            </a:r>
            <a:r>
              <a:rPr lang="zh-CN" altLang="en-US"/>
              <a:t>张】、系统的架构，以及系统的代码，</a:t>
            </a:r>
            <a:r>
              <a:rPr lang="en-US" altLang="zh-CN"/>
              <a:t>4</a:t>
            </a:r>
            <a:r>
              <a:rPr lang="zh-CN" altLang="en-US"/>
              <a:t>类评价系统都相互耦合在一起，因此没有办法进行独立</a:t>
            </a:r>
            <a:r>
              <a:rPr lang="zh-CN" altLang="en-US"/>
              <a:t>部署。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所有的计算参数，结果数据全部存储在关系型数据库中，随着数量增加，计算效率下降比较</a:t>
            </a:r>
            <a:r>
              <a:rPr lang="zh-CN" altLang="en-US"/>
              <a:t>明显。</a:t>
            </a:r>
            <a:endParaRPr lang="zh-CN" altLang="en-US"/>
          </a:p>
          <a:p>
            <a:endParaRPr lang="zh-CN" altLang="en-US"/>
          </a:p>
          <a:p>
            <a:r>
              <a:rPr lang="zh-CN" altLang="en-US"/>
              <a:t>同时给前端调用的接口有</a:t>
            </a:r>
            <a:r>
              <a:rPr lang="en-US" altLang="zh-CN"/>
              <a:t>50+</a:t>
            </a:r>
            <a:endParaRPr lang="en-US" altLang="zh-CN"/>
          </a:p>
          <a:p>
            <a:endParaRPr lang="en-US" altLang="zh-CN"/>
          </a:p>
          <a:p>
            <a:r>
              <a:rPr lang="zh-CN" altLang="en-US"/>
              <a:t>系统消息队列频繁卡死，导致算法侦测不到计算任务，无法进行算法计算，导致系统获取不到评价</a:t>
            </a:r>
            <a:r>
              <a:rPr lang="zh-CN" altLang="en-US"/>
              <a:t>结果。</a:t>
            </a:r>
            <a:endParaRPr lang="zh-CN" altLang="en-US"/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264"/>
          <p:cNvSpPr/>
          <p:nvPr/>
        </p:nvSpPr>
        <p:spPr>
          <a:xfrm>
            <a:off x="304112" y="332480"/>
            <a:ext cx="4339590" cy="302895"/>
          </a:xfrm>
          <a:prstGeom prst="rect">
            <a:avLst/>
          </a:prstGeom>
        </p:spPr>
        <p:txBody>
          <a:bodyPr vert="horz" wrap="square" lIns="0" tIns="0" rIns="0" bIns="0"/>
          <a:lstStyle/>
          <a:p>
            <a:pPr algn="l" rtl="0" eaLnBrk="0">
              <a:lnSpc>
                <a:spcPct val="81000"/>
              </a:lnSpc>
            </a:pPr>
            <a:endParaRPr lang="en-US" altLang="en-US" sz="100" dirty="0"/>
          </a:p>
          <a:p>
            <a:pPr marL="12700" algn="l" rtl="0" eaLnBrk="0">
              <a:lnSpc>
                <a:spcPct val="91000"/>
              </a:lnSpc>
            </a:pPr>
            <a:r>
              <a:rPr lang="zh-CN" altLang="en-US" sz="2000" dirty="0"/>
              <a:t>系统升级的</a:t>
            </a:r>
            <a:r>
              <a:rPr lang="zh-CN" altLang="en-US" sz="2000" dirty="0"/>
              <a:t>目标</a:t>
            </a:r>
            <a:endParaRPr lang="zh-CN" altLang="en-US" sz="2000" dirty="0"/>
          </a:p>
        </p:txBody>
      </p:sp>
      <p:cxnSp>
        <p:nvCxnSpPr>
          <p:cNvPr id="14" name="直接箭头连接符 13"/>
          <p:cNvCxnSpPr/>
          <p:nvPr>
            <p:custDataLst>
              <p:tags r:id="rId1"/>
            </p:custDataLst>
          </p:nvPr>
        </p:nvCxnSpPr>
        <p:spPr>
          <a:xfrm>
            <a:off x="693738" y="5337175"/>
            <a:ext cx="10800040" cy="0"/>
          </a:xfrm>
          <a:prstGeom prst="straightConnector1">
            <a:avLst/>
          </a:prstGeom>
          <a:ln w="28575">
            <a:solidFill>
              <a:srgbClr val="DDDDDD">
                <a:alpha val="40000"/>
              </a:srgb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任意多边形: 形状 12"/>
          <p:cNvSpPr/>
          <p:nvPr>
            <p:custDataLst>
              <p:tags r:id="rId2"/>
            </p:custDataLst>
          </p:nvPr>
        </p:nvSpPr>
        <p:spPr>
          <a:xfrm flipV="1">
            <a:off x="702628" y="1461135"/>
            <a:ext cx="1983204" cy="3361098"/>
          </a:xfrm>
          <a:custGeom>
            <a:avLst/>
            <a:gdLst>
              <a:gd name="connsiteX0" fmla="*/ 166792 w 1825052"/>
              <a:gd name="connsiteY0" fmla="*/ 3107602 h 3107602"/>
              <a:gd name="connsiteX1" fmla="*/ 1658260 w 1825052"/>
              <a:gd name="connsiteY1" fmla="*/ 3107602 h 3107602"/>
              <a:gd name="connsiteX2" fmla="*/ 1825052 w 1825052"/>
              <a:gd name="connsiteY2" fmla="*/ 2940810 h 3107602"/>
              <a:gd name="connsiteX3" fmla="*/ 1825052 w 1825052"/>
              <a:gd name="connsiteY3" fmla="*/ 402182 h 3107602"/>
              <a:gd name="connsiteX4" fmla="*/ 1658260 w 1825052"/>
              <a:gd name="connsiteY4" fmla="*/ 235390 h 3107602"/>
              <a:gd name="connsiteX5" fmla="*/ 1049052 w 1825052"/>
              <a:gd name="connsiteY5" fmla="*/ 235390 h 3107602"/>
              <a:gd name="connsiteX6" fmla="*/ 912526 w 1825052"/>
              <a:gd name="connsiteY6" fmla="*/ 0 h 3107602"/>
              <a:gd name="connsiteX7" fmla="*/ 776000 w 1825052"/>
              <a:gd name="connsiteY7" fmla="*/ 235390 h 3107602"/>
              <a:gd name="connsiteX8" fmla="*/ 166792 w 1825052"/>
              <a:gd name="connsiteY8" fmla="*/ 235390 h 3107602"/>
              <a:gd name="connsiteX9" fmla="*/ 0 w 1825052"/>
              <a:gd name="connsiteY9" fmla="*/ 402182 h 3107602"/>
              <a:gd name="connsiteX10" fmla="*/ 0 w 1825052"/>
              <a:gd name="connsiteY10" fmla="*/ 2940810 h 3107602"/>
              <a:gd name="connsiteX11" fmla="*/ 166792 w 1825052"/>
              <a:gd name="connsiteY11" fmla="*/ 3107602 h 3107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25052" h="3107602">
                <a:moveTo>
                  <a:pt x="166792" y="3107602"/>
                </a:moveTo>
                <a:lnTo>
                  <a:pt x="1658260" y="3107602"/>
                </a:lnTo>
                <a:cubicBezTo>
                  <a:pt x="1750377" y="3107602"/>
                  <a:pt x="1825052" y="3032927"/>
                  <a:pt x="1825052" y="2940810"/>
                </a:cubicBezTo>
                <a:lnTo>
                  <a:pt x="1825052" y="402182"/>
                </a:lnTo>
                <a:cubicBezTo>
                  <a:pt x="1825052" y="310065"/>
                  <a:pt x="1750377" y="235390"/>
                  <a:pt x="1658260" y="235390"/>
                </a:cubicBezTo>
                <a:lnTo>
                  <a:pt x="1049052" y="235390"/>
                </a:lnTo>
                <a:lnTo>
                  <a:pt x="912526" y="0"/>
                </a:lnTo>
                <a:lnTo>
                  <a:pt x="776000" y="235390"/>
                </a:lnTo>
                <a:lnTo>
                  <a:pt x="166792" y="235390"/>
                </a:lnTo>
                <a:cubicBezTo>
                  <a:pt x="74675" y="235390"/>
                  <a:pt x="0" y="310065"/>
                  <a:pt x="0" y="402182"/>
                </a:cubicBezTo>
                <a:lnTo>
                  <a:pt x="0" y="2940810"/>
                </a:lnTo>
                <a:cubicBezTo>
                  <a:pt x="0" y="3032927"/>
                  <a:pt x="74675" y="3107602"/>
                  <a:pt x="166792" y="3107602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6" name="矩形 15"/>
          <p:cNvSpPr/>
          <p:nvPr>
            <p:custDataLst>
              <p:tags r:id="rId3"/>
            </p:custDataLst>
          </p:nvPr>
        </p:nvSpPr>
        <p:spPr>
          <a:xfrm>
            <a:off x="866458" y="2805430"/>
            <a:ext cx="1655960" cy="1425980"/>
          </a:xfrm>
          <a:prstGeom prst="rect">
            <a:avLst/>
          </a:prstGeom>
          <a:ln>
            <a:noFill/>
            <a:prstDash val="sysDash"/>
          </a:ln>
        </p:spPr>
        <p:txBody>
          <a:bodyPr vert="horz" wrap="square" lIns="0" tIns="0" rIns="0" bIns="0" rtlCol="0" anchor="t">
            <a:noAutofit/>
          </a:bodyPr>
          <a:p>
            <a:pPr algn="just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kern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土建、机电、运营、附属设施四类评价算法均可以独立部署，独立</a:t>
            </a:r>
            <a:r>
              <a:rPr lang="zh-CN" altLang="en-US" sz="1200" kern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运行</a:t>
            </a:r>
            <a:endParaRPr lang="zh-CN" altLang="en-US" sz="1200" kern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</a:endParaRPr>
          </a:p>
        </p:txBody>
      </p:sp>
      <p:sp>
        <p:nvSpPr>
          <p:cNvPr id="17" name="矩形 16"/>
          <p:cNvSpPr/>
          <p:nvPr>
            <p:custDataLst>
              <p:tags r:id="rId4"/>
            </p:custDataLst>
          </p:nvPr>
        </p:nvSpPr>
        <p:spPr>
          <a:xfrm>
            <a:off x="866458" y="2302510"/>
            <a:ext cx="1655960" cy="41381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 kern="0">
                <a:solidFill>
                  <a:schemeClr val="accent1"/>
                </a:solidFill>
                <a:latin typeface="+mn-ea"/>
                <a:cs typeface="+mn-ea"/>
              </a:rPr>
              <a:t>去</a:t>
            </a:r>
            <a:r>
              <a:rPr lang="zh-CN" altLang="en-US" sz="2000" b="1" kern="0">
                <a:solidFill>
                  <a:schemeClr val="accent1"/>
                </a:solidFill>
                <a:latin typeface="+mn-ea"/>
                <a:cs typeface="+mn-ea"/>
              </a:rPr>
              <a:t>耦合</a:t>
            </a:r>
            <a:endParaRPr lang="zh-CN" altLang="en-US" sz="2000" b="1" kern="0">
              <a:solidFill>
                <a:schemeClr val="accent1"/>
              </a:solidFill>
              <a:latin typeface="+mn-ea"/>
              <a:cs typeface="+mn-ea"/>
            </a:endParaRPr>
          </a:p>
        </p:txBody>
      </p:sp>
      <p:sp>
        <p:nvSpPr>
          <p:cNvPr id="56" name="任意多边形: 形状 55"/>
          <p:cNvSpPr/>
          <p:nvPr>
            <p:custDataLst>
              <p:tags r:id="rId5"/>
            </p:custDataLst>
          </p:nvPr>
        </p:nvSpPr>
        <p:spPr>
          <a:xfrm flipV="1">
            <a:off x="2908618" y="1461135"/>
            <a:ext cx="1983204" cy="3361098"/>
          </a:xfrm>
          <a:custGeom>
            <a:avLst/>
            <a:gdLst>
              <a:gd name="connsiteX0" fmla="*/ 166792 w 1825052"/>
              <a:gd name="connsiteY0" fmla="*/ 3107602 h 3107602"/>
              <a:gd name="connsiteX1" fmla="*/ 1658260 w 1825052"/>
              <a:gd name="connsiteY1" fmla="*/ 3107602 h 3107602"/>
              <a:gd name="connsiteX2" fmla="*/ 1825052 w 1825052"/>
              <a:gd name="connsiteY2" fmla="*/ 2940810 h 3107602"/>
              <a:gd name="connsiteX3" fmla="*/ 1825052 w 1825052"/>
              <a:gd name="connsiteY3" fmla="*/ 402182 h 3107602"/>
              <a:gd name="connsiteX4" fmla="*/ 1658260 w 1825052"/>
              <a:gd name="connsiteY4" fmla="*/ 235390 h 3107602"/>
              <a:gd name="connsiteX5" fmla="*/ 1049052 w 1825052"/>
              <a:gd name="connsiteY5" fmla="*/ 235390 h 3107602"/>
              <a:gd name="connsiteX6" fmla="*/ 912526 w 1825052"/>
              <a:gd name="connsiteY6" fmla="*/ 0 h 3107602"/>
              <a:gd name="connsiteX7" fmla="*/ 776000 w 1825052"/>
              <a:gd name="connsiteY7" fmla="*/ 235390 h 3107602"/>
              <a:gd name="connsiteX8" fmla="*/ 166792 w 1825052"/>
              <a:gd name="connsiteY8" fmla="*/ 235390 h 3107602"/>
              <a:gd name="connsiteX9" fmla="*/ 0 w 1825052"/>
              <a:gd name="connsiteY9" fmla="*/ 402182 h 3107602"/>
              <a:gd name="connsiteX10" fmla="*/ 0 w 1825052"/>
              <a:gd name="connsiteY10" fmla="*/ 2940810 h 3107602"/>
              <a:gd name="connsiteX11" fmla="*/ 166792 w 1825052"/>
              <a:gd name="connsiteY11" fmla="*/ 3107602 h 3107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25052" h="3107602">
                <a:moveTo>
                  <a:pt x="166792" y="3107602"/>
                </a:moveTo>
                <a:lnTo>
                  <a:pt x="1658260" y="3107602"/>
                </a:lnTo>
                <a:cubicBezTo>
                  <a:pt x="1750377" y="3107602"/>
                  <a:pt x="1825052" y="3032927"/>
                  <a:pt x="1825052" y="2940810"/>
                </a:cubicBezTo>
                <a:lnTo>
                  <a:pt x="1825052" y="402182"/>
                </a:lnTo>
                <a:cubicBezTo>
                  <a:pt x="1825052" y="310065"/>
                  <a:pt x="1750377" y="235390"/>
                  <a:pt x="1658260" y="235390"/>
                </a:cubicBezTo>
                <a:lnTo>
                  <a:pt x="1049052" y="235390"/>
                </a:lnTo>
                <a:lnTo>
                  <a:pt x="912526" y="0"/>
                </a:lnTo>
                <a:lnTo>
                  <a:pt x="776000" y="235390"/>
                </a:lnTo>
                <a:lnTo>
                  <a:pt x="166792" y="235390"/>
                </a:lnTo>
                <a:cubicBezTo>
                  <a:pt x="74675" y="235390"/>
                  <a:pt x="0" y="310065"/>
                  <a:pt x="0" y="402182"/>
                </a:cubicBezTo>
                <a:lnTo>
                  <a:pt x="0" y="2940810"/>
                </a:lnTo>
                <a:cubicBezTo>
                  <a:pt x="0" y="3032927"/>
                  <a:pt x="74675" y="3107602"/>
                  <a:pt x="166792" y="3107602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8" name="矩形 17"/>
          <p:cNvSpPr/>
          <p:nvPr>
            <p:custDataLst>
              <p:tags r:id="rId6"/>
            </p:custDataLst>
          </p:nvPr>
        </p:nvSpPr>
        <p:spPr>
          <a:xfrm>
            <a:off x="3071813" y="2805430"/>
            <a:ext cx="1655960" cy="1425980"/>
          </a:xfrm>
          <a:prstGeom prst="rect">
            <a:avLst/>
          </a:prstGeom>
          <a:ln>
            <a:noFill/>
            <a:prstDash val="sysDash"/>
          </a:ln>
        </p:spPr>
        <p:txBody>
          <a:bodyPr vert="horz" wrap="square" lIns="0" tIns="0" rIns="0" bIns="0" rtlCol="0" anchor="t">
            <a:noAutofit/>
          </a:bodyPr>
          <a:p>
            <a:pPr algn="just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kern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进行接口合并、简化，缩短</a:t>
            </a:r>
            <a:r>
              <a:rPr lang="zh-CN" altLang="en-US" sz="1200" kern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链路，简化外部使用，利于后期算法的</a:t>
            </a:r>
            <a:r>
              <a:rPr lang="zh-CN" altLang="en-US" sz="1200" kern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推广</a:t>
            </a:r>
            <a:endParaRPr lang="zh-CN" altLang="en-US" sz="1200" kern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</a:endParaRPr>
          </a:p>
        </p:txBody>
      </p:sp>
      <p:sp>
        <p:nvSpPr>
          <p:cNvPr id="19" name="矩形 18"/>
          <p:cNvSpPr/>
          <p:nvPr>
            <p:custDataLst>
              <p:tags r:id="rId7"/>
            </p:custDataLst>
          </p:nvPr>
        </p:nvSpPr>
        <p:spPr>
          <a:xfrm>
            <a:off x="3071813" y="2302510"/>
            <a:ext cx="1655960" cy="41381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 kern="0">
                <a:solidFill>
                  <a:schemeClr val="accent2"/>
                </a:solidFill>
                <a:latin typeface="+mn-ea"/>
                <a:cs typeface="+mn-ea"/>
              </a:rPr>
              <a:t>简化</a:t>
            </a:r>
            <a:r>
              <a:rPr lang="zh-CN" altLang="en-US" sz="2000" b="1" kern="0">
                <a:solidFill>
                  <a:schemeClr val="accent2"/>
                </a:solidFill>
                <a:latin typeface="+mn-ea"/>
                <a:cs typeface="+mn-ea"/>
              </a:rPr>
              <a:t>调用</a:t>
            </a:r>
            <a:endParaRPr lang="zh-CN" altLang="en-US" sz="2000" b="1" kern="0">
              <a:solidFill>
                <a:schemeClr val="accent2"/>
              </a:solidFill>
              <a:latin typeface="+mn-ea"/>
              <a:cs typeface="+mn-ea"/>
            </a:endParaRPr>
          </a:p>
        </p:txBody>
      </p:sp>
      <p:sp>
        <p:nvSpPr>
          <p:cNvPr id="62" name="任意多边形: 形状 61"/>
          <p:cNvSpPr/>
          <p:nvPr>
            <p:custDataLst>
              <p:tags r:id="rId8"/>
            </p:custDataLst>
          </p:nvPr>
        </p:nvSpPr>
        <p:spPr>
          <a:xfrm flipV="1">
            <a:off x="5114608" y="1461135"/>
            <a:ext cx="1983204" cy="3361098"/>
          </a:xfrm>
          <a:custGeom>
            <a:avLst/>
            <a:gdLst>
              <a:gd name="connsiteX0" fmla="*/ 166792 w 1825052"/>
              <a:gd name="connsiteY0" fmla="*/ 3107602 h 3107602"/>
              <a:gd name="connsiteX1" fmla="*/ 1658260 w 1825052"/>
              <a:gd name="connsiteY1" fmla="*/ 3107602 h 3107602"/>
              <a:gd name="connsiteX2" fmla="*/ 1825052 w 1825052"/>
              <a:gd name="connsiteY2" fmla="*/ 2940810 h 3107602"/>
              <a:gd name="connsiteX3" fmla="*/ 1825052 w 1825052"/>
              <a:gd name="connsiteY3" fmla="*/ 402182 h 3107602"/>
              <a:gd name="connsiteX4" fmla="*/ 1658260 w 1825052"/>
              <a:gd name="connsiteY4" fmla="*/ 235390 h 3107602"/>
              <a:gd name="connsiteX5" fmla="*/ 1049052 w 1825052"/>
              <a:gd name="connsiteY5" fmla="*/ 235390 h 3107602"/>
              <a:gd name="connsiteX6" fmla="*/ 912526 w 1825052"/>
              <a:gd name="connsiteY6" fmla="*/ 0 h 3107602"/>
              <a:gd name="connsiteX7" fmla="*/ 776000 w 1825052"/>
              <a:gd name="connsiteY7" fmla="*/ 235390 h 3107602"/>
              <a:gd name="connsiteX8" fmla="*/ 166792 w 1825052"/>
              <a:gd name="connsiteY8" fmla="*/ 235390 h 3107602"/>
              <a:gd name="connsiteX9" fmla="*/ 0 w 1825052"/>
              <a:gd name="connsiteY9" fmla="*/ 402182 h 3107602"/>
              <a:gd name="connsiteX10" fmla="*/ 0 w 1825052"/>
              <a:gd name="connsiteY10" fmla="*/ 2940810 h 3107602"/>
              <a:gd name="connsiteX11" fmla="*/ 166792 w 1825052"/>
              <a:gd name="connsiteY11" fmla="*/ 3107602 h 3107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25052" h="3107602">
                <a:moveTo>
                  <a:pt x="166792" y="3107602"/>
                </a:moveTo>
                <a:lnTo>
                  <a:pt x="1658260" y="3107602"/>
                </a:lnTo>
                <a:cubicBezTo>
                  <a:pt x="1750377" y="3107602"/>
                  <a:pt x="1825052" y="3032927"/>
                  <a:pt x="1825052" y="2940810"/>
                </a:cubicBezTo>
                <a:lnTo>
                  <a:pt x="1825052" y="402182"/>
                </a:lnTo>
                <a:cubicBezTo>
                  <a:pt x="1825052" y="310065"/>
                  <a:pt x="1750377" y="235390"/>
                  <a:pt x="1658260" y="235390"/>
                </a:cubicBezTo>
                <a:lnTo>
                  <a:pt x="1049052" y="235390"/>
                </a:lnTo>
                <a:lnTo>
                  <a:pt x="912526" y="0"/>
                </a:lnTo>
                <a:lnTo>
                  <a:pt x="776000" y="235390"/>
                </a:lnTo>
                <a:lnTo>
                  <a:pt x="166792" y="235390"/>
                </a:lnTo>
                <a:cubicBezTo>
                  <a:pt x="74675" y="235390"/>
                  <a:pt x="0" y="310065"/>
                  <a:pt x="0" y="402182"/>
                </a:cubicBezTo>
                <a:lnTo>
                  <a:pt x="0" y="2940810"/>
                </a:lnTo>
                <a:cubicBezTo>
                  <a:pt x="0" y="3032927"/>
                  <a:pt x="74675" y="3107602"/>
                  <a:pt x="166792" y="3107602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0" name="矩形 19"/>
          <p:cNvSpPr/>
          <p:nvPr>
            <p:custDataLst>
              <p:tags r:id="rId9"/>
            </p:custDataLst>
          </p:nvPr>
        </p:nvSpPr>
        <p:spPr>
          <a:xfrm>
            <a:off x="5277803" y="2805430"/>
            <a:ext cx="1655960" cy="1425980"/>
          </a:xfrm>
          <a:prstGeom prst="rect">
            <a:avLst/>
          </a:prstGeom>
          <a:ln>
            <a:noFill/>
            <a:prstDash val="sysDash"/>
          </a:ln>
        </p:spPr>
        <p:txBody>
          <a:bodyPr vert="horz" wrap="square" lIns="0" tIns="0" rIns="0" bIns="0" rtlCol="0" anchor="t">
            <a:noAutofit/>
          </a:bodyPr>
          <a:p>
            <a:pPr algn="just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kern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结合关系型数据库以及高速缓存数据库，提升数据的查询性能，同事优化计算算法。提升计算</a:t>
            </a:r>
            <a:r>
              <a:rPr lang="zh-CN" altLang="en-US" sz="1200" kern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效率</a:t>
            </a:r>
            <a:endParaRPr lang="zh-CN" altLang="en-US" sz="1200" kern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</a:endParaRPr>
          </a:p>
        </p:txBody>
      </p:sp>
      <p:sp>
        <p:nvSpPr>
          <p:cNvPr id="21" name="矩形 20"/>
          <p:cNvSpPr/>
          <p:nvPr>
            <p:custDataLst>
              <p:tags r:id="rId10"/>
            </p:custDataLst>
          </p:nvPr>
        </p:nvSpPr>
        <p:spPr>
          <a:xfrm>
            <a:off x="5277803" y="2302510"/>
            <a:ext cx="1655960" cy="41381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 kern="0">
                <a:solidFill>
                  <a:schemeClr val="accent1"/>
                </a:solidFill>
                <a:latin typeface="+mn-ea"/>
                <a:cs typeface="+mn-ea"/>
              </a:rPr>
              <a:t>性能</a:t>
            </a:r>
            <a:r>
              <a:rPr lang="zh-CN" altLang="en-US" sz="2000" b="1" kern="0">
                <a:solidFill>
                  <a:schemeClr val="accent1"/>
                </a:solidFill>
                <a:latin typeface="+mn-ea"/>
                <a:cs typeface="+mn-ea"/>
              </a:rPr>
              <a:t>提升</a:t>
            </a:r>
            <a:endParaRPr lang="zh-CN" altLang="en-US" sz="2000" b="1" kern="0">
              <a:solidFill>
                <a:schemeClr val="accent1"/>
              </a:solidFill>
              <a:latin typeface="+mn-ea"/>
              <a:cs typeface="+mn-ea"/>
            </a:endParaRPr>
          </a:p>
        </p:txBody>
      </p:sp>
      <p:sp>
        <p:nvSpPr>
          <p:cNvPr id="74" name="任意多边形: 形状 73"/>
          <p:cNvSpPr/>
          <p:nvPr>
            <p:custDataLst>
              <p:tags r:id="rId11"/>
            </p:custDataLst>
          </p:nvPr>
        </p:nvSpPr>
        <p:spPr>
          <a:xfrm flipV="1">
            <a:off x="9517063" y="1461135"/>
            <a:ext cx="1983204" cy="3361098"/>
          </a:xfrm>
          <a:custGeom>
            <a:avLst/>
            <a:gdLst>
              <a:gd name="connsiteX0" fmla="*/ 166792 w 1825052"/>
              <a:gd name="connsiteY0" fmla="*/ 3107602 h 3107602"/>
              <a:gd name="connsiteX1" fmla="*/ 1658260 w 1825052"/>
              <a:gd name="connsiteY1" fmla="*/ 3107602 h 3107602"/>
              <a:gd name="connsiteX2" fmla="*/ 1825052 w 1825052"/>
              <a:gd name="connsiteY2" fmla="*/ 2940810 h 3107602"/>
              <a:gd name="connsiteX3" fmla="*/ 1825052 w 1825052"/>
              <a:gd name="connsiteY3" fmla="*/ 402182 h 3107602"/>
              <a:gd name="connsiteX4" fmla="*/ 1658260 w 1825052"/>
              <a:gd name="connsiteY4" fmla="*/ 235390 h 3107602"/>
              <a:gd name="connsiteX5" fmla="*/ 1049052 w 1825052"/>
              <a:gd name="connsiteY5" fmla="*/ 235390 h 3107602"/>
              <a:gd name="connsiteX6" fmla="*/ 912526 w 1825052"/>
              <a:gd name="connsiteY6" fmla="*/ 0 h 3107602"/>
              <a:gd name="connsiteX7" fmla="*/ 776000 w 1825052"/>
              <a:gd name="connsiteY7" fmla="*/ 235390 h 3107602"/>
              <a:gd name="connsiteX8" fmla="*/ 166792 w 1825052"/>
              <a:gd name="connsiteY8" fmla="*/ 235390 h 3107602"/>
              <a:gd name="connsiteX9" fmla="*/ 0 w 1825052"/>
              <a:gd name="connsiteY9" fmla="*/ 402182 h 3107602"/>
              <a:gd name="connsiteX10" fmla="*/ 0 w 1825052"/>
              <a:gd name="connsiteY10" fmla="*/ 2940810 h 3107602"/>
              <a:gd name="connsiteX11" fmla="*/ 166792 w 1825052"/>
              <a:gd name="connsiteY11" fmla="*/ 3107602 h 3107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25052" h="3107602">
                <a:moveTo>
                  <a:pt x="166792" y="3107602"/>
                </a:moveTo>
                <a:lnTo>
                  <a:pt x="1658260" y="3107602"/>
                </a:lnTo>
                <a:cubicBezTo>
                  <a:pt x="1750377" y="3107602"/>
                  <a:pt x="1825052" y="3032927"/>
                  <a:pt x="1825052" y="2940810"/>
                </a:cubicBezTo>
                <a:lnTo>
                  <a:pt x="1825052" y="402182"/>
                </a:lnTo>
                <a:cubicBezTo>
                  <a:pt x="1825052" y="310065"/>
                  <a:pt x="1750377" y="235390"/>
                  <a:pt x="1658260" y="235390"/>
                </a:cubicBezTo>
                <a:lnTo>
                  <a:pt x="1049052" y="235390"/>
                </a:lnTo>
                <a:lnTo>
                  <a:pt x="912526" y="0"/>
                </a:lnTo>
                <a:lnTo>
                  <a:pt x="776000" y="235390"/>
                </a:lnTo>
                <a:lnTo>
                  <a:pt x="166792" y="235390"/>
                </a:lnTo>
                <a:cubicBezTo>
                  <a:pt x="74675" y="235390"/>
                  <a:pt x="0" y="310065"/>
                  <a:pt x="0" y="402182"/>
                </a:cubicBezTo>
                <a:lnTo>
                  <a:pt x="0" y="2940810"/>
                </a:lnTo>
                <a:cubicBezTo>
                  <a:pt x="0" y="3032927"/>
                  <a:pt x="74675" y="3107602"/>
                  <a:pt x="166792" y="3107602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4" name="矩形 23"/>
          <p:cNvSpPr/>
          <p:nvPr>
            <p:custDataLst>
              <p:tags r:id="rId12"/>
            </p:custDataLst>
          </p:nvPr>
        </p:nvSpPr>
        <p:spPr>
          <a:xfrm>
            <a:off x="9680893" y="2805430"/>
            <a:ext cx="1655960" cy="1425980"/>
          </a:xfrm>
          <a:prstGeom prst="rect">
            <a:avLst/>
          </a:prstGeom>
          <a:ln>
            <a:noFill/>
            <a:prstDash val="sysDash"/>
          </a:ln>
        </p:spPr>
        <p:txBody>
          <a:bodyPr vert="horz" wrap="square" lIns="0" tIns="0" rIns="0" bIns="0" rtlCol="0" anchor="t">
            <a:noAutofit/>
          </a:bodyPr>
          <a:p>
            <a:pPr algn="just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kern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多项目支持，每个项目可以上传自己的考核</a:t>
            </a:r>
            <a:r>
              <a:rPr lang="zh-CN" altLang="en-US" sz="1200" kern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标准</a:t>
            </a:r>
            <a:endParaRPr lang="zh-CN" altLang="en-US" sz="1200" kern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</a:endParaRPr>
          </a:p>
        </p:txBody>
      </p:sp>
      <p:sp>
        <p:nvSpPr>
          <p:cNvPr id="25" name="矩形 24"/>
          <p:cNvSpPr/>
          <p:nvPr>
            <p:custDataLst>
              <p:tags r:id="rId13"/>
            </p:custDataLst>
          </p:nvPr>
        </p:nvSpPr>
        <p:spPr>
          <a:xfrm>
            <a:off x="9680893" y="2302510"/>
            <a:ext cx="1655960" cy="41381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 kern="0">
                <a:solidFill>
                  <a:schemeClr val="accent1"/>
                </a:solidFill>
                <a:latin typeface="+mn-ea"/>
                <a:cs typeface="+mn-ea"/>
              </a:rPr>
              <a:t>多项目</a:t>
            </a:r>
            <a:r>
              <a:rPr lang="zh-CN" altLang="en-US" sz="2000" b="1" kern="0">
                <a:solidFill>
                  <a:schemeClr val="accent1"/>
                </a:solidFill>
                <a:latin typeface="+mn-ea"/>
                <a:cs typeface="+mn-ea"/>
              </a:rPr>
              <a:t>支持</a:t>
            </a:r>
            <a:endParaRPr lang="zh-CN" altLang="en-US" sz="2000" b="1" kern="0">
              <a:solidFill>
                <a:schemeClr val="accent1"/>
              </a:solidFill>
              <a:latin typeface="+mn-ea"/>
              <a:cs typeface="+mn-ea"/>
            </a:endParaRPr>
          </a:p>
        </p:txBody>
      </p:sp>
      <p:sp>
        <p:nvSpPr>
          <p:cNvPr id="26" name="椭圆 25"/>
          <p:cNvSpPr/>
          <p:nvPr>
            <p:custDataLst>
              <p:tags r:id="rId14"/>
            </p:custDataLst>
          </p:nvPr>
        </p:nvSpPr>
        <p:spPr>
          <a:xfrm>
            <a:off x="1632903" y="5277485"/>
            <a:ext cx="120144" cy="120144"/>
          </a:xfrm>
          <a:prstGeom prst="ellipse">
            <a:avLst/>
          </a:pr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38" name="椭圆 37"/>
          <p:cNvSpPr/>
          <p:nvPr>
            <p:custDataLst>
              <p:tags r:id="rId15"/>
            </p:custDataLst>
          </p:nvPr>
        </p:nvSpPr>
        <p:spPr>
          <a:xfrm>
            <a:off x="3840163" y="5277485"/>
            <a:ext cx="120144" cy="120144"/>
          </a:xfrm>
          <a:prstGeom prst="ellipse">
            <a:avLst/>
          </a:pr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39" name="椭圆 38"/>
          <p:cNvSpPr/>
          <p:nvPr>
            <p:custDataLst>
              <p:tags r:id="rId16"/>
            </p:custDataLst>
          </p:nvPr>
        </p:nvSpPr>
        <p:spPr>
          <a:xfrm>
            <a:off x="6042978" y="5277485"/>
            <a:ext cx="120144" cy="120144"/>
          </a:xfrm>
          <a:prstGeom prst="ellipse">
            <a:avLst/>
          </a:pr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40" name="椭圆 39"/>
          <p:cNvSpPr/>
          <p:nvPr>
            <p:custDataLst>
              <p:tags r:id="rId17"/>
            </p:custDataLst>
          </p:nvPr>
        </p:nvSpPr>
        <p:spPr>
          <a:xfrm>
            <a:off x="10443528" y="5277485"/>
            <a:ext cx="120144" cy="120144"/>
          </a:xfrm>
          <a:prstGeom prst="ellipse">
            <a:avLst/>
          </a:pr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pic>
        <p:nvPicPr>
          <p:cNvPr id="27" name="图片 3" descr="343435383038363b343532323337393bc9cfcad0cdcbb3f6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446848" y="1646555"/>
            <a:ext cx="494644" cy="494644"/>
          </a:xfrm>
          <a:prstGeom prst="rect">
            <a:avLst/>
          </a:prstGeom>
        </p:spPr>
      </p:pic>
      <p:pic>
        <p:nvPicPr>
          <p:cNvPr id="28" name="图片 13" descr="343435383038363b343532323339363bd5bdc2d4c4bfb1ea"/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258743" y="1641475"/>
            <a:ext cx="499794" cy="499794"/>
          </a:xfrm>
          <a:prstGeom prst="rect">
            <a:avLst/>
          </a:prstGeom>
        </p:spPr>
      </p:pic>
      <p:pic>
        <p:nvPicPr>
          <p:cNvPr id="30" name="图片 15" descr="343435383038363b343532323430353bcdf8c2e7d3aacffa"/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650298" y="1641475"/>
            <a:ext cx="499794" cy="499794"/>
          </a:xfrm>
          <a:prstGeom prst="rect">
            <a:avLst/>
          </a:prstGeom>
        </p:spPr>
      </p:pic>
      <p:pic>
        <p:nvPicPr>
          <p:cNvPr id="31" name="图片 17" descr="343435383038363b343532323430323bcdc6b9e3b7bdb0b8"/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853113" y="1641475"/>
            <a:ext cx="499794" cy="499794"/>
          </a:xfrm>
          <a:prstGeom prst="rect">
            <a:avLst/>
          </a:prstGeom>
        </p:spPr>
      </p:pic>
      <p:sp>
        <p:nvSpPr>
          <p:cNvPr id="32" name="任意多边形: 形状 55"/>
          <p:cNvSpPr/>
          <p:nvPr>
            <p:custDataLst>
              <p:tags r:id="rId30"/>
            </p:custDataLst>
          </p:nvPr>
        </p:nvSpPr>
        <p:spPr>
          <a:xfrm flipV="1">
            <a:off x="7314248" y="1468120"/>
            <a:ext cx="1983204" cy="3361098"/>
          </a:xfrm>
          <a:custGeom>
            <a:avLst/>
            <a:gdLst>
              <a:gd name="connsiteX0" fmla="*/ 166792 w 1825052"/>
              <a:gd name="connsiteY0" fmla="*/ 3107602 h 3107602"/>
              <a:gd name="connsiteX1" fmla="*/ 1658260 w 1825052"/>
              <a:gd name="connsiteY1" fmla="*/ 3107602 h 3107602"/>
              <a:gd name="connsiteX2" fmla="*/ 1825052 w 1825052"/>
              <a:gd name="connsiteY2" fmla="*/ 2940810 h 3107602"/>
              <a:gd name="connsiteX3" fmla="*/ 1825052 w 1825052"/>
              <a:gd name="connsiteY3" fmla="*/ 402182 h 3107602"/>
              <a:gd name="connsiteX4" fmla="*/ 1658260 w 1825052"/>
              <a:gd name="connsiteY4" fmla="*/ 235390 h 3107602"/>
              <a:gd name="connsiteX5" fmla="*/ 1049052 w 1825052"/>
              <a:gd name="connsiteY5" fmla="*/ 235390 h 3107602"/>
              <a:gd name="connsiteX6" fmla="*/ 912526 w 1825052"/>
              <a:gd name="connsiteY6" fmla="*/ 0 h 3107602"/>
              <a:gd name="connsiteX7" fmla="*/ 776000 w 1825052"/>
              <a:gd name="connsiteY7" fmla="*/ 235390 h 3107602"/>
              <a:gd name="connsiteX8" fmla="*/ 166792 w 1825052"/>
              <a:gd name="connsiteY8" fmla="*/ 235390 h 3107602"/>
              <a:gd name="connsiteX9" fmla="*/ 0 w 1825052"/>
              <a:gd name="connsiteY9" fmla="*/ 402182 h 3107602"/>
              <a:gd name="connsiteX10" fmla="*/ 0 w 1825052"/>
              <a:gd name="connsiteY10" fmla="*/ 2940810 h 3107602"/>
              <a:gd name="connsiteX11" fmla="*/ 166792 w 1825052"/>
              <a:gd name="connsiteY11" fmla="*/ 3107602 h 3107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25052" h="3107602">
                <a:moveTo>
                  <a:pt x="166792" y="3107602"/>
                </a:moveTo>
                <a:lnTo>
                  <a:pt x="1658260" y="3107602"/>
                </a:lnTo>
                <a:cubicBezTo>
                  <a:pt x="1750377" y="3107602"/>
                  <a:pt x="1825052" y="3032927"/>
                  <a:pt x="1825052" y="2940810"/>
                </a:cubicBezTo>
                <a:lnTo>
                  <a:pt x="1825052" y="402182"/>
                </a:lnTo>
                <a:cubicBezTo>
                  <a:pt x="1825052" y="310065"/>
                  <a:pt x="1750377" y="235390"/>
                  <a:pt x="1658260" y="235390"/>
                </a:cubicBezTo>
                <a:lnTo>
                  <a:pt x="1049052" y="235390"/>
                </a:lnTo>
                <a:lnTo>
                  <a:pt x="912526" y="0"/>
                </a:lnTo>
                <a:lnTo>
                  <a:pt x="776000" y="235390"/>
                </a:lnTo>
                <a:lnTo>
                  <a:pt x="166792" y="235390"/>
                </a:lnTo>
                <a:cubicBezTo>
                  <a:pt x="74675" y="235390"/>
                  <a:pt x="0" y="310065"/>
                  <a:pt x="0" y="402182"/>
                </a:cubicBezTo>
                <a:lnTo>
                  <a:pt x="0" y="2940810"/>
                </a:lnTo>
                <a:cubicBezTo>
                  <a:pt x="0" y="3032927"/>
                  <a:pt x="74675" y="3107602"/>
                  <a:pt x="166792" y="3107602"/>
                </a:cubicBezTo>
                <a:close/>
              </a:path>
            </a:pathLst>
          </a:custGeom>
          <a:solidFill>
            <a:schemeClr val="tx1">
              <a:lumMod val="40000"/>
              <a:lumOff val="6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3" name="矩形 32"/>
          <p:cNvSpPr/>
          <p:nvPr>
            <p:custDataLst>
              <p:tags r:id="rId31"/>
            </p:custDataLst>
          </p:nvPr>
        </p:nvSpPr>
        <p:spPr>
          <a:xfrm>
            <a:off x="7477443" y="2812415"/>
            <a:ext cx="1655960" cy="1425980"/>
          </a:xfrm>
          <a:prstGeom prst="rect">
            <a:avLst/>
          </a:prstGeom>
          <a:ln>
            <a:noFill/>
            <a:prstDash val="sysDash"/>
          </a:ln>
        </p:spPr>
        <p:txBody>
          <a:bodyPr vert="horz" wrap="square" lIns="0" tIns="0" rIns="0" bIns="0" rtlCol="0" anchor="t">
            <a:noAutofit/>
          </a:bodyPr>
          <a:p>
            <a:pPr algn="just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kern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提升系统稳定性，减少系统各种阻塞，异常停服等</a:t>
            </a:r>
            <a:r>
              <a:rPr lang="zh-CN" altLang="en-US" sz="1200" kern="0">
                <a:ln>
                  <a:noFill/>
                  <a:prstDash val="sysDot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cs typeface="+mn-ea"/>
              </a:rPr>
              <a:t>状况</a:t>
            </a:r>
            <a:endParaRPr lang="zh-CN" altLang="en-US" sz="1200" kern="0">
              <a:ln>
                <a:noFill/>
                <a:prstDash val="sysDot"/>
              </a:ln>
              <a:solidFill>
                <a:schemeClr val="tx1">
                  <a:lumMod val="85000"/>
                  <a:lumOff val="15000"/>
                </a:schemeClr>
              </a:solidFill>
              <a:latin typeface="+mn-ea"/>
              <a:cs typeface="+mn-ea"/>
            </a:endParaRPr>
          </a:p>
        </p:txBody>
      </p:sp>
      <p:sp>
        <p:nvSpPr>
          <p:cNvPr id="34" name="矩形 33"/>
          <p:cNvSpPr/>
          <p:nvPr>
            <p:custDataLst>
              <p:tags r:id="rId32"/>
            </p:custDataLst>
          </p:nvPr>
        </p:nvSpPr>
        <p:spPr>
          <a:xfrm>
            <a:off x="7477443" y="2309495"/>
            <a:ext cx="1655960" cy="41381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 kern="0">
                <a:solidFill>
                  <a:schemeClr val="accent2"/>
                </a:solidFill>
                <a:latin typeface="+mn-ea"/>
                <a:cs typeface="+mn-ea"/>
              </a:rPr>
              <a:t>架构</a:t>
            </a:r>
            <a:r>
              <a:rPr lang="zh-CN" altLang="en-US" sz="2000" b="1" kern="0">
                <a:solidFill>
                  <a:schemeClr val="accent2"/>
                </a:solidFill>
                <a:latin typeface="+mn-ea"/>
                <a:cs typeface="+mn-ea"/>
              </a:rPr>
              <a:t>优化</a:t>
            </a:r>
            <a:endParaRPr lang="zh-CN" altLang="en-US" sz="2000" b="1" kern="0">
              <a:solidFill>
                <a:schemeClr val="accent2"/>
              </a:solidFill>
              <a:latin typeface="+mn-ea"/>
              <a:cs typeface="+mn-ea"/>
            </a:endParaRPr>
          </a:p>
        </p:txBody>
      </p:sp>
      <p:sp>
        <p:nvSpPr>
          <p:cNvPr id="35" name="椭圆 34"/>
          <p:cNvSpPr/>
          <p:nvPr>
            <p:custDataLst>
              <p:tags r:id="rId33"/>
            </p:custDataLst>
          </p:nvPr>
        </p:nvSpPr>
        <p:spPr>
          <a:xfrm>
            <a:off x="8245793" y="5284470"/>
            <a:ext cx="120144" cy="120144"/>
          </a:xfrm>
          <a:prstGeom prst="ellipse">
            <a:avLst/>
          </a:pr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pic>
        <p:nvPicPr>
          <p:cNvPr id="36" name="图片 15" descr="343435383038363b343532323430353bcdf8c2e7d3aacffa"/>
          <p:cNvPicPr>
            <a:picLocks noChangeAspect="1"/>
          </p:cNvPicPr>
          <p:nvPr>
            <p:custDataLst>
              <p:tags r:id="rId34"/>
            </p:custDataLst>
          </p:nvPr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8055928" y="1648460"/>
            <a:ext cx="499794" cy="499794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264"/>
          <p:cNvSpPr/>
          <p:nvPr/>
        </p:nvSpPr>
        <p:spPr>
          <a:xfrm>
            <a:off x="304112" y="332480"/>
            <a:ext cx="4339590" cy="302895"/>
          </a:xfrm>
          <a:prstGeom prst="rect">
            <a:avLst/>
          </a:prstGeom>
        </p:spPr>
        <p:txBody>
          <a:bodyPr vert="horz" wrap="square" lIns="0" tIns="0" rIns="0" bIns="0"/>
          <a:lstStyle/>
          <a:p>
            <a:pPr algn="l" rtl="0" eaLnBrk="0">
              <a:lnSpc>
                <a:spcPct val="81000"/>
              </a:lnSpc>
            </a:pPr>
            <a:endParaRPr lang="en-US" altLang="en-US" sz="100" dirty="0"/>
          </a:p>
          <a:p>
            <a:pPr marL="12700" algn="l" rtl="0" eaLnBrk="0">
              <a:lnSpc>
                <a:spcPct val="91000"/>
              </a:lnSpc>
            </a:pPr>
            <a:r>
              <a:rPr lang="zh-CN" altLang="en-US" sz="2000" dirty="0"/>
              <a:t>算法代码层面</a:t>
            </a:r>
            <a:r>
              <a:rPr lang="zh-CN" altLang="en-US" sz="2000" dirty="0"/>
              <a:t>拆分</a:t>
            </a:r>
            <a:endParaRPr lang="zh-CN" altLang="en-US" sz="2000" dirty="0"/>
          </a:p>
        </p:txBody>
      </p:sp>
      <p:sp>
        <p:nvSpPr>
          <p:cNvPr id="48" name="图形 9"/>
          <p:cNvSpPr/>
          <p:nvPr>
            <p:custDataLst>
              <p:tags r:id="rId1"/>
            </p:custDataLst>
          </p:nvPr>
        </p:nvSpPr>
        <p:spPr>
          <a:xfrm>
            <a:off x="-258000" y="1572063"/>
            <a:ext cx="501758" cy="448130"/>
          </a:xfrm>
          <a:custGeom>
            <a:avLst/>
            <a:gdLst>
              <a:gd name="connsiteX0" fmla="*/ 958463 w 1370981"/>
              <a:gd name="connsiteY0" fmla="*/ -1130 h 1224453"/>
              <a:gd name="connsiteX1" fmla="*/ 1078507 w 1370981"/>
              <a:gd name="connsiteY1" fmla="*/ 68177 h 1224453"/>
              <a:gd name="connsiteX2" fmla="*/ 1351945 w 1370981"/>
              <a:gd name="connsiteY2" fmla="*/ 541789 h 1224453"/>
              <a:gd name="connsiteX3" fmla="*/ 1351945 w 1370981"/>
              <a:gd name="connsiteY3" fmla="*/ 680404 h 1224453"/>
              <a:gd name="connsiteX4" fmla="*/ 1078507 w 1370981"/>
              <a:gd name="connsiteY4" fmla="*/ 1154016 h 1224453"/>
              <a:gd name="connsiteX5" fmla="*/ 958463 w 1370981"/>
              <a:gd name="connsiteY5" fmla="*/ 1223323 h 1224453"/>
              <a:gd name="connsiteX6" fmla="*/ 411586 w 1370981"/>
              <a:gd name="connsiteY6" fmla="*/ 1223323 h 1224453"/>
              <a:gd name="connsiteX7" fmla="*/ 291542 w 1370981"/>
              <a:gd name="connsiteY7" fmla="*/ 1154016 h 1224453"/>
              <a:gd name="connsiteX8" fmla="*/ 18104 w 1370981"/>
              <a:gd name="connsiteY8" fmla="*/ 680404 h 1224453"/>
              <a:gd name="connsiteX9" fmla="*/ 18104 w 1370981"/>
              <a:gd name="connsiteY9" fmla="*/ 541789 h 1224453"/>
              <a:gd name="connsiteX10" fmla="*/ 291542 w 1370981"/>
              <a:gd name="connsiteY10" fmla="*/ 68177 h 1224453"/>
              <a:gd name="connsiteX11" fmla="*/ 411586 w 1370981"/>
              <a:gd name="connsiteY11" fmla="*/ -1130 h 1224453"/>
              <a:gd name="connsiteX12" fmla="*/ 958463 w 1370981"/>
              <a:gd name="connsiteY12" fmla="*/ -1130 h 1224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370981" h="1224453">
                <a:moveTo>
                  <a:pt x="958463" y="-1130"/>
                </a:moveTo>
                <a:cubicBezTo>
                  <a:pt x="1007986" y="-1130"/>
                  <a:pt x="1053750" y="25276"/>
                  <a:pt x="1078507" y="68177"/>
                </a:cubicBezTo>
                <a:lnTo>
                  <a:pt x="1351945" y="541789"/>
                </a:lnTo>
                <a:cubicBezTo>
                  <a:pt x="1376705" y="584690"/>
                  <a:pt x="1376705" y="637503"/>
                  <a:pt x="1351945" y="680404"/>
                </a:cubicBezTo>
                <a:lnTo>
                  <a:pt x="1078507" y="1154016"/>
                </a:lnTo>
                <a:cubicBezTo>
                  <a:pt x="1053750" y="1196917"/>
                  <a:pt x="1007986" y="1223323"/>
                  <a:pt x="958463" y="1223323"/>
                </a:cubicBezTo>
                <a:lnTo>
                  <a:pt x="411586" y="1223323"/>
                </a:lnTo>
                <a:cubicBezTo>
                  <a:pt x="362062" y="1223323"/>
                  <a:pt x="316299" y="1196917"/>
                  <a:pt x="291542" y="1154016"/>
                </a:cubicBezTo>
                <a:lnTo>
                  <a:pt x="18104" y="680404"/>
                </a:lnTo>
                <a:cubicBezTo>
                  <a:pt x="-6656" y="637503"/>
                  <a:pt x="-6656" y="584690"/>
                  <a:pt x="18104" y="541789"/>
                </a:cubicBezTo>
                <a:lnTo>
                  <a:pt x="291542" y="68177"/>
                </a:lnTo>
                <a:cubicBezTo>
                  <a:pt x="316299" y="25276"/>
                  <a:pt x="362062" y="-1130"/>
                  <a:pt x="411586" y="-1130"/>
                </a:cubicBezTo>
                <a:lnTo>
                  <a:pt x="958463" y="-1130"/>
                </a:lnTo>
                <a:close/>
              </a:path>
            </a:pathLst>
          </a:custGeom>
          <a:noFill/>
          <a:ln w="9525" cap="flat">
            <a:solidFill>
              <a:schemeClr val="tx2">
                <a:lumMod val="50000"/>
                <a:lumOff val="50000"/>
                <a:alpha val="10000"/>
              </a:schemeClr>
            </a:solidFill>
            <a:prstDash val="solid"/>
            <a:miter/>
          </a:ln>
        </p:spPr>
        <p:txBody>
          <a:bodyPr rtlCol="0" anchor="ctr">
            <a:noAutofit/>
          </a:bodyPr>
          <a:p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72" name="圆角矩形 71"/>
          <p:cNvSpPr/>
          <p:nvPr/>
        </p:nvSpPr>
        <p:spPr>
          <a:xfrm>
            <a:off x="611505" y="2785745"/>
            <a:ext cx="1875155" cy="7302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/>
              <a:t>一个评价算法</a:t>
            </a:r>
            <a:endParaRPr lang="zh-CN" altLang="en-US"/>
          </a:p>
        </p:txBody>
      </p:sp>
      <p:sp>
        <p:nvSpPr>
          <p:cNvPr id="75" name="圆角矩形 74"/>
          <p:cNvSpPr/>
          <p:nvPr/>
        </p:nvSpPr>
        <p:spPr>
          <a:xfrm>
            <a:off x="3323590" y="1491615"/>
            <a:ext cx="1875155" cy="730250"/>
          </a:xfrm>
          <a:prstGeom prst="roundRect">
            <a:avLst/>
          </a:prstGeom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en-US" altLang="zh-CN"/>
          </a:p>
        </p:txBody>
      </p:sp>
      <p:sp>
        <p:nvSpPr>
          <p:cNvPr id="76" name="文本框 75"/>
          <p:cNvSpPr txBox="1"/>
          <p:nvPr/>
        </p:nvSpPr>
        <p:spPr>
          <a:xfrm>
            <a:off x="3404235" y="1717675"/>
            <a:ext cx="1725295" cy="30226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/>
              <a:t>代码仓库</a:t>
            </a:r>
            <a:r>
              <a:rPr lang="zh-CN" altLang="en-US"/>
              <a:t>独立</a:t>
            </a:r>
            <a:endParaRPr lang="zh-CN" altLang="en-US"/>
          </a:p>
        </p:txBody>
      </p:sp>
      <p:sp>
        <p:nvSpPr>
          <p:cNvPr id="78" name="圆角矩形 77"/>
          <p:cNvSpPr/>
          <p:nvPr/>
        </p:nvSpPr>
        <p:spPr>
          <a:xfrm>
            <a:off x="3323590" y="2798445"/>
            <a:ext cx="1875155" cy="730250"/>
          </a:xfrm>
          <a:prstGeom prst="roundRect">
            <a:avLst/>
          </a:prstGeom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en-US" altLang="zh-CN"/>
          </a:p>
        </p:txBody>
      </p:sp>
      <p:sp>
        <p:nvSpPr>
          <p:cNvPr id="79" name="文本框 78"/>
          <p:cNvSpPr txBox="1"/>
          <p:nvPr/>
        </p:nvSpPr>
        <p:spPr>
          <a:xfrm>
            <a:off x="3404235" y="3024505"/>
            <a:ext cx="1725295" cy="30226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/>
              <a:t>数据</a:t>
            </a:r>
            <a:r>
              <a:rPr lang="zh-CN" altLang="en-US"/>
              <a:t>库独立</a:t>
            </a:r>
            <a:endParaRPr lang="zh-CN" altLang="en-US"/>
          </a:p>
        </p:txBody>
      </p:sp>
      <p:sp>
        <p:nvSpPr>
          <p:cNvPr id="80" name="圆角矩形 79"/>
          <p:cNvSpPr/>
          <p:nvPr/>
        </p:nvSpPr>
        <p:spPr>
          <a:xfrm>
            <a:off x="3323590" y="4105275"/>
            <a:ext cx="1875155" cy="730250"/>
          </a:xfrm>
          <a:prstGeom prst="roundRect">
            <a:avLst/>
          </a:prstGeom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en-US" altLang="zh-CN"/>
          </a:p>
        </p:txBody>
      </p:sp>
      <p:sp>
        <p:nvSpPr>
          <p:cNvPr id="81" name="文本框 80"/>
          <p:cNvSpPr txBox="1"/>
          <p:nvPr/>
        </p:nvSpPr>
        <p:spPr>
          <a:xfrm>
            <a:off x="3404235" y="4331335"/>
            <a:ext cx="1725295" cy="30226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/>
              <a:t>部署独立运行</a:t>
            </a:r>
            <a:endParaRPr lang="zh-CN" altLang="en-US"/>
          </a:p>
        </p:txBody>
      </p:sp>
      <p:cxnSp>
        <p:nvCxnSpPr>
          <p:cNvPr id="82" name="肘形连接符 81"/>
          <p:cNvCxnSpPr>
            <a:stCxn id="72" idx="3"/>
            <a:endCxn id="75" idx="1"/>
          </p:cNvCxnSpPr>
          <p:nvPr/>
        </p:nvCxnSpPr>
        <p:spPr>
          <a:xfrm flipV="1">
            <a:off x="2486660" y="1856740"/>
            <a:ext cx="836930" cy="129413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83" name="肘形连接符 82"/>
          <p:cNvCxnSpPr>
            <a:stCxn id="72" idx="3"/>
            <a:endCxn id="80" idx="1"/>
          </p:cNvCxnSpPr>
          <p:nvPr/>
        </p:nvCxnSpPr>
        <p:spPr>
          <a:xfrm>
            <a:off x="2486660" y="3150870"/>
            <a:ext cx="836930" cy="131953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84" name="直接箭头连接符 83"/>
          <p:cNvCxnSpPr>
            <a:stCxn id="72" idx="3"/>
          </p:cNvCxnSpPr>
          <p:nvPr/>
        </p:nvCxnSpPr>
        <p:spPr>
          <a:xfrm>
            <a:off x="2486660" y="3150870"/>
            <a:ext cx="78994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86" name="textbox 264"/>
          <p:cNvSpPr/>
          <p:nvPr/>
        </p:nvSpPr>
        <p:spPr>
          <a:xfrm>
            <a:off x="6362012" y="337560"/>
            <a:ext cx="4339590" cy="302895"/>
          </a:xfrm>
          <a:prstGeom prst="rect">
            <a:avLst/>
          </a:prstGeom>
        </p:spPr>
        <p:txBody>
          <a:bodyPr vert="horz" wrap="square" lIns="0" tIns="0" rIns="0" bIns="0"/>
          <a:p>
            <a:pPr algn="l" rtl="0" eaLnBrk="0">
              <a:lnSpc>
                <a:spcPct val="81000"/>
              </a:lnSpc>
            </a:pPr>
            <a:endParaRPr lang="en-US" altLang="en-US" sz="100" dirty="0"/>
          </a:p>
          <a:p>
            <a:pPr marL="12700" algn="l" rtl="0" eaLnBrk="0">
              <a:lnSpc>
                <a:spcPct val="91000"/>
              </a:lnSpc>
            </a:pPr>
            <a:r>
              <a:rPr lang="zh-CN" altLang="en-US" sz="2000" dirty="0"/>
              <a:t>系统工程化能力</a:t>
            </a:r>
            <a:r>
              <a:rPr lang="zh-CN" altLang="en-US" sz="2000" dirty="0"/>
              <a:t>提升</a:t>
            </a:r>
            <a:endParaRPr lang="zh-CN" altLang="en-US" sz="2000" dirty="0"/>
          </a:p>
        </p:txBody>
      </p:sp>
      <p:sp>
        <p:nvSpPr>
          <p:cNvPr id="123" name="圆角矩形 122"/>
          <p:cNvSpPr/>
          <p:nvPr/>
        </p:nvSpPr>
        <p:spPr>
          <a:xfrm>
            <a:off x="6362065" y="2912745"/>
            <a:ext cx="1875155" cy="7302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/>
              <a:t>工程化</a:t>
            </a:r>
            <a:endParaRPr lang="zh-CN" altLang="en-US"/>
          </a:p>
        </p:txBody>
      </p:sp>
      <p:sp>
        <p:nvSpPr>
          <p:cNvPr id="124" name="圆角矩形 123"/>
          <p:cNvSpPr/>
          <p:nvPr/>
        </p:nvSpPr>
        <p:spPr>
          <a:xfrm>
            <a:off x="9074150" y="1618615"/>
            <a:ext cx="1875155" cy="730250"/>
          </a:xfrm>
          <a:prstGeom prst="roundRect">
            <a:avLst/>
          </a:prstGeom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en-US" altLang="zh-CN"/>
          </a:p>
        </p:txBody>
      </p:sp>
      <p:sp>
        <p:nvSpPr>
          <p:cNvPr id="125" name="文本框 124"/>
          <p:cNvSpPr txBox="1"/>
          <p:nvPr/>
        </p:nvSpPr>
        <p:spPr>
          <a:xfrm>
            <a:off x="9154795" y="1844675"/>
            <a:ext cx="1725295" cy="30226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/>
              <a:t>容器化</a:t>
            </a:r>
            <a:r>
              <a:rPr lang="zh-CN" altLang="en-US"/>
              <a:t>部署</a:t>
            </a:r>
            <a:endParaRPr lang="zh-CN" altLang="en-US"/>
          </a:p>
        </p:txBody>
      </p:sp>
      <p:sp>
        <p:nvSpPr>
          <p:cNvPr id="126" name="圆角矩形 125"/>
          <p:cNvSpPr/>
          <p:nvPr/>
        </p:nvSpPr>
        <p:spPr>
          <a:xfrm>
            <a:off x="9074150" y="2925445"/>
            <a:ext cx="1875155" cy="730250"/>
          </a:xfrm>
          <a:prstGeom prst="roundRect">
            <a:avLst/>
          </a:prstGeom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en-US" altLang="zh-CN"/>
          </a:p>
        </p:txBody>
      </p:sp>
      <p:sp>
        <p:nvSpPr>
          <p:cNvPr id="127" name="文本框 126"/>
          <p:cNvSpPr txBox="1"/>
          <p:nvPr/>
        </p:nvSpPr>
        <p:spPr>
          <a:xfrm>
            <a:off x="9154795" y="3151505"/>
            <a:ext cx="1725295" cy="30226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/>
              <a:t>高可用性</a:t>
            </a:r>
            <a:endParaRPr lang="zh-CN" altLang="en-US"/>
          </a:p>
        </p:txBody>
      </p:sp>
      <p:sp>
        <p:nvSpPr>
          <p:cNvPr id="128" name="圆角矩形 127"/>
          <p:cNvSpPr/>
          <p:nvPr/>
        </p:nvSpPr>
        <p:spPr>
          <a:xfrm>
            <a:off x="9074150" y="4232275"/>
            <a:ext cx="1875155" cy="730250"/>
          </a:xfrm>
          <a:prstGeom prst="roundRect">
            <a:avLst/>
          </a:prstGeom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en-US" altLang="zh-CN"/>
          </a:p>
        </p:txBody>
      </p:sp>
      <p:sp>
        <p:nvSpPr>
          <p:cNvPr id="129" name="文本框 128"/>
          <p:cNvSpPr txBox="1"/>
          <p:nvPr/>
        </p:nvSpPr>
        <p:spPr>
          <a:xfrm>
            <a:off x="9154795" y="4458335"/>
            <a:ext cx="1725295" cy="30226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r>
              <a:rPr lang="zh-CN" altLang="en-US"/>
              <a:t>分布式</a:t>
            </a:r>
            <a:endParaRPr lang="zh-CN" altLang="en-US"/>
          </a:p>
        </p:txBody>
      </p:sp>
      <p:cxnSp>
        <p:nvCxnSpPr>
          <p:cNvPr id="130" name="肘形连接符 129"/>
          <p:cNvCxnSpPr>
            <a:stCxn id="123" idx="3"/>
            <a:endCxn id="124" idx="1"/>
          </p:cNvCxnSpPr>
          <p:nvPr/>
        </p:nvCxnSpPr>
        <p:spPr>
          <a:xfrm flipV="1">
            <a:off x="8237220" y="1983740"/>
            <a:ext cx="836930" cy="129413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131" name="肘形连接符 130"/>
          <p:cNvCxnSpPr>
            <a:stCxn id="123" idx="3"/>
            <a:endCxn id="128" idx="1"/>
          </p:cNvCxnSpPr>
          <p:nvPr/>
        </p:nvCxnSpPr>
        <p:spPr>
          <a:xfrm>
            <a:off x="8237220" y="3277870"/>
            <a:ext cx="836930" cy="131953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132" name="直接箭头连接符 131"/>
          <p:cNvCxnSpPr>
            <a:stCxn id="123" idx="3"/>
          </p:cNvCxnSpPr>
          <p:nvPr/>
        </p:nvCxnSpPr>
        <p:spPr>
          <a:xfrm>
            <a:off x="8237220" y="3277870"/>
            <a:ext cx="78994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133" name="直接连接符 132"/>
          <p:cNvCxnSpPr/>
          <p:nvPr/>
        </p:nvCxnSpPr>
        <p:spPr>
          <a:xfrm>
            <a:off x="5844540" y="621030"/>
            <a:ext cx="0" cy="56642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264"/>
          <p:cNvSpPr/>
          <p:nvPr/>
        </p:nvSpPr>
        <p:spPr>
          <a:xfrm>
            <a:off x="304112" y="332480"/>
            <a:ext cx="4339590" cy="302895"/>
          </a:xfrm>
          <a:prstGeom prst="rect">
            <a:avLst/>
          </a:prstGeom>
        </p:spPr>
        <p:txBody>
          <a:bodyPr vert="horz" wrap="square" lIns="0" tIns="0" rIns="0" bIns="0"/>
          <a:lstStyle/>
          <a:p>
            <a:pPr algn="l" rtl="0" eaLnBrk="0">
              <a:lnSpc>
                <a:spcPct val="81000"/>
              </a:lnSpc>
            </a:pPr>
            <a:endParaRPr lang="en-US" altLang="en-US" sz="100" dirty="0"/>
          </a:p>
          <a:p>
            <a:pPr marL="12700" algn="l" rtl="0" eaLnBrk="0">
              <a:lnSpc>
                <a:spcPct val="91000"/>
              </a:lnSpc>
            </a:pPr>
            <a:r>
              <a:rPr lang="zh-CN" altLang="en-US" sz="2000" dirty="0"/>
              <a:t>调用链路上</a:t>
            </a:r>
            <a:r>
              <a:rPr lang="zh-CN" altLang="en-US" sz="2000" dirty="0"/>
              <a:t>简化</a:t>
            </a:r>
            <a:endParaRPr lang="zh-CN" altLang="en-US" sz="20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48665" y="828040"/>
            <a:ext cx="11029315" cy="5880735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264"/>
          <p:cNvSpPr/>
          <p:nvPr/>
        </p:nvSpPr>
        <p:spPr>
          <a:xfrm>
            <a:off x="304112" y="154680"/>
            <a:ext cx="4339590" cy="302895"/>
          </a:xfrm>
          <a:prstGeom prst="rect">
            <a:avLst/>
          </a:prstGeom>
        </p:spPr>
        <p:txBody>
          <a:bodyPr vert="horz" wrap="square" lIns="0" tIns="0" rIns="0" bIns="0"/>
          <a:lstStyle/>
          <a:p>
            <a:pPr algn="l" rtl="0" eaLnBrk="0">
              <a:lnSpc>
                <a:spcPct val="81000"/>
              </a:lnSpc>
            </a:pPr>
            <a:endParaRPr lang="en-US" altLang="en-US" sz="100" dirty="0"/>
          </a:p>
          <a:p>
            <a:pPr marL="12700" algn="l" rtl="0" eaLnBrk="0">
              <a:lnSpc>
                <a:spcPct val="91000"/>
              </a:lnSpc>
            </a:pPr>
            <a:r>
              <a:rPr lang="zh-CN" altLang="en-US" sz="2000" dirty="0"/>
              <a:t>系统</a:t>
            </a:r>
            <a:r>
              <a:rPr lang="zh-CN" altLang="en-US" sz="2000" dirty="0"/>
              <a:t>架构</a:t>
            </a:r>
            <a:endParaRPr lang="zh-CN" altLang="en-US" sz="2000" dirty="0"/>
          </a:p>
        </p:txBody>
      </p:sp>
      <p:sp>
        <p:nvSpPr>
          <p:cNvPr id="4" name="文本框 3"/>
          <p:cNvSpPr txBox="1"/>
          <p:nvPr/>
        </p:nvSpPr>
        <p:spPr>
          <a:xfrm>
            <a:off x="8295640" y="661035"/>
            <a:ext cx="3895725" cy="590804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/>
              <a:t>架构</a:t>
            </a:r>
            <a:r>
              <a:rPr lang="zh-CN" altLang="en-US"/>
              <a:t>特点：</a:t>
            </a:r>
            <a:endParaRPr lang="zh-CN" altLang="en-US"/>
          </a:p>
          <a:p>
            <a:r>
              <a:rPr lang="en-US" altLang="zh-CN"/>
              <a:t>1</a:t>
            </a:r>
            <a:r>
              <a:rPr lang="zh-CN" altLang="en-US"/>
              <a:t>、采用全部</a:t>
            </a:r>
            <a:r>
              <a:rPr lang="en-US" altLang="zh-CN"/>
              <a:t>Python</a:t>
            </a:r>
            <a:r>
              <a:rPr lang="zh-CN" altLang="en-US"/>
              <a:t>生态，避免异构系统的</a:t>
            </a:r>
            <a:r>
              <a:rPr lang="zh-CN" altLang="en-US"/>
              <a:t>复杂度</a:t>
            </a:r>
            <a:endParaRPr lang="zh-CN" altLang="en-US"/>
          </a:p>
          <a:p>
            <a:r>
              <a:rPr lang="en-US" altLang="zh-CN"/>
              <a:t>2</a:t>
            </a:r>
            <a:r>
              <a:rPr lang="zh-CN" altLang="en-US"/>
              <a:t>、用户传参，</a:t>
            </a:r>
            <a:r>
              <a:rPr lang="zh-CN" altLang="en-US"/>
              <a:t>参数保存在高速缓存数据库中，避免应用数据库表爆炸以及存储慢。</a:t>
            </a:r>
            <a:endParaRPr lang="zh-CN" altLang="en-US"/>
          </a:p>
          <a:p>
            <a:r>
              <a:rPr lang="en-US" altLang="zh-CN"/>
              <a:t>3</a:t>
            </a:r>
            <a:r>
              <a:rPr lang="zh-CN" altLang="en-US"/>
              <a:t>、系统配置级别的参数进行数据库存储。比如多项目</a:t>
            </a:r>
            <a:r>
              <a:rPr lang="zh-CN" altLang="en-US"/>
              <a:t>信息、</a:t>
            </a:r>
            <a:r>
              <a:rPr lang="zh-CN" altLang="en-US"/>
              <a:t>权重</a:t>
            </a:r>
            <a:endParaRPr lang="zh-CN" altLang="en-US"/>
          </a:p>
          <a:p>
            <a:r>
              <a:rPr lang="en-US" altLang="zh-CN"/>
              <a:t>3</a:t>
            </a:r>
            <a:r>
              <a:rPr lang="zh-CN" altLang="en-US"/>
              <a:t>、去除队列，通过计算模块主动到</a:t>
            </a:r>
            <a:r>
              <a:rPr lang="en-US" altLang="zh-CN"/>
              <a:t>redis</a:t>
            </a:r>
            <a:r>
              <a:rPr lang="zh-CN" altLang="en-US"/>
              <a:t>中获取需要计算的</a:t>
            </a:r>
            <a:r>
              <a:rPr lang="zh-CN" altLang="en-US"/>
              <a:t>任务。</a:t>
            </a:r>
            <a:endParaRPr lang="zh-CN" altLang="en-US"/>
          </a:p>
          <a:p>
            <a:r>
              <a:rPr lang="en-US" altLang="zh-CN"/>
              <a:t>4</a:t>
            </a:r>
            <a:r>
              <a:rPr lang="zh-CN" altLang="en-US"/>
              <a:t>、用户一次性将需要计算的参数提交，将参数直接缓存到</a:t>
            </a:r>
            <a:r>
              <a:rPr lang="en-US" altLang="zh-CN"/>
              <a:t>redis</a:t>
            </a:r>
            <a:r>
              <a:rPr lang="zh-CN" altLang="en-US"/>
              <a:t>中，避免在写到数据库，导致客户端参数需要分批上</a:t>
            </a:r>
            <a:r>
              <a:rPr lang="zh-CN" altLang="en-US"/>
              <a:t>传。</a:t>
            </a:r>
            <a:endParaRPr lang="zh-CN" altLang="en-US"/>
          </a:p>
          <a:p>
            <a:r>
              <a:rPr lang="en-US" altLang="zh-CN"/>
              <a:t>5</a:t>
            </a:r>
            <a:r>
              <a:rPr lang="zh-CN" altLang="en-US"/>
              <a:t>、计算的结果存储在</a:t>
            </a:r>
            <a:r>
              <a:rPr lang="en-US" altLang="zh-CN"/>
              <a:t>Redis</a:t>
            </a:r>
            <a:r>
              <a:rPr lang="zh-CN" altLang="en-US"/>
              <a:t>中（缓存</a:t>
            </a:r>
            <a:r>
              <a:rPr lang="en-US" altLang="zh-CN"/>
              <a:t>1</a:t>
            </a:r>
            <a:r>
              <a:rPr lang="zh-CN" altLang="en-US"/>
              <a:t>个月），用户查询结果的时候，直接通过缓存的提供结果，减少响应时间。</a:t>
            </a:r>
            <a:endParaRPr lang="zh-CN" altLang="en-US"/>
          </a:p>
          <a:p>
            <a:r>
              <a:rPr lang="en-US" altLang="zh-CN"/>
              <a:t>6</a:t>
            </a:r>
            <a:r>
              <a:rPr lang="zh-CN" altLang="en-US"/>
              <a:t>、提供回调接口，计算完成之后主动通知用户过来查询</a:t>
            </a:r>
            <a:r>
              <a:rPr lang="zh-CN" altLang="en-US"/>
              <a:t>结果。</a:t>
            </a:r>
            <a:endParaRPr lang="zh-CN" altLang="en-US"/>
          </a:p>
          <a:p>
            <a:endParaRPr lang="zh-CN" altLang="en-US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17830" y="661035"/>
            <a:ext cx="7463155" cy="6014720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untitled"/>
          <p:cNvPicPr>
            <a:picLocks noChangeAspect="1"/>
          </p:cNvPicPr>
          <p:nvPr/>
        </p:nvPicPr>
        <p:blipFill>
          <a:blip r:embed="rId1">
            <a:lum bright="12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302385" y="2355215"/>
            <a:ext cx="3658870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>
                <a:solidFill>
                  <a:srgbClr val="4D8CFD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HarmonyOS Sans SC Black" panose="00000A00000000000000" charset="-122"/>
              </a:rPr>
              <a:t>THANK</a:t>
            </a:r>
            <a:endParaRPr lang="en-US" altLang="zh-CN" sz="2000">
              <a:solidFill>
                <a:srgbClr val="4D8CFD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HarmonyOS Sans SC Black" panose="00000A00000000000000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346835" y="4274820"/>
            <a:ext cx="3182620" cy="344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1100">
                <a:solidFill>
                  <a:srgbClr val="8F898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armonyOS Sans SC" panose="00000500000000000000" charset="-122"/>
              </a:rPr>
              <a:t>tHANK YOU FOR WATCHING</a:t>
            </a:r>
            <a:endParaRPr lang="en-US" altLang="zh-CN" sz="1100">
              <a:solidFill>
                <a:srgbClr val="8F8989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HarmonyOS Sans SC" panose="00000500000000000000" charset="-122"/>
            </a:endParaRPr>
          </a:p>
        </p:txBody>
      </p:sp>
      <p:sp>
        <p:nvSpPr>
          <p:cNvPr id="14" name="文本框 13" descr="7b0a20202020227461726765744d6f64756c65223a20226b6f6e6c696e65666f6e7473220a7d0a"/>
          <p:cNvSpPr txBox="1"/>
          <p:nvPr/>
        </p:nvSpPr>
        <p:spPr>
          <a:xfrm>
            <a:off x="1302385" y="2971800"/>
            <a:ext cx="3445510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Tx/>
              <a:buSzTx/>
              <a:buFontTx/>
            </a:pPr>
            <a:r>
              <a:rPr lang="zh-CN" altLang="en-US" sz="6000" b="1">
                <a:solidFill>
                  <a:srgbClr val="202227"/>
                </a:solidFill>
                <a:effectLst>
                  <a:outerShdw blurRad="889000" dist="152400" dir="2700000" algn="tl" rotWithShape="0">
                    <a:srgbClr val="202227">
                      <a:alpha val="30000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HarmonyOS Sans SC Black" panose="00000A00000000000000" charset="-122"/>
              </a:rPr>
              <a:t>感谢观看</a:t>
            </a:r>
            <a:endParaRPr lang="zh-CN" altLang="en-US" sz="6000" b="1">
              <a:solidFill>
                <a:srgbClr val="202227"/>
              </a:solidFill>
              <a:effectLst>
                <a:outerShdw blurRad="889000" dist="152400" dir="2700000" algn="tl" rotWithShape="0">
                  <a:srgbClr val="202227">
                    <a:alpha val="30000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HarmonyOS Sans SC Black" panose="00000A00000000000000" charset="-122"/>
            </a:endParaRPr>
          </a:p>
        </p:txBody>
      </p:sp>
      <p:sp>
        <p:nvSpPr>
          <p:cNvPr id="17" name="任意多边形 16"/>
          <p:cNvSpPr/>
          <p:nvPr/>
        </p:nvSpPr>
        <p:spPr>
          <a:xfrm rot="10800000">
            <a:off x="10916285" y="7620"/>
            <a:ext cx="1265555" cy="1811020"/>
          </a:xfrm>
          <a:custGeom>
            <a:avLst/>
            <a:gdLst/>
            <a:ahLst/>
            <a:cxnLst>
              <a:cxn ang="3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4249" h="6079">
                <a:moveTo>
                  <a:pt x="0" y="0"/>
                </a:moveTo>
                <a:lnTo>
                  <a:pt x="10" y="28"/>
                </a:lnTo>
                <a:cubicBezTo>
                  <a:pt x="262" y="720"/>
                  <a:pt x="577" y="1415"/>
                  <a:pt x="956" y="2099"/>
                </a:cubicBezTo>
                <a:cubicBezTo>
                  <a:pt x="1854" y="3720"/>
                  <a:pt x="2994" y="5067"/>
                  <a:pt x="4224" y="6059"/>
                </a:cubicBezTo>
                <a:lnTo>
                  <a:pt x="4249" y="6079"/>
                </a:lnTo>
                <a:lnTo>
                  <a:pt x="0" y="607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0066FF">
                  <a:alpha val="100000"/>
                </a:srgbClr>
              </a:gs>
              <a:gs pos="100000">
                <a:srgbClr val="65A3FF">
                  <a:alpha val="100000"/>
                </a:srgbClr>
              </a:gs>
            </a:gsLst>
            <a:lin ang="72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/>
</p:sld>
</file>

<file path=ppt/tags/tag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1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l_h_i"/>
  <p:tag name="KSO_WM_UNIT_INDEX" val="1_1_2"/>
  <p:tag name="KSO_WM_UNIT_ID" val="diagram20233213_1*l_h_i*1_1_2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solid&quot;:{&quot;brightness&quot;:0.6000000238418579,&quot;colorType&quot;:1,&quot;foreColorIndex&quot;:13,&quot;transparency&quot;:0.8500000238418579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UNIT_FILL_TYPE" val="1"/>
  <p:tag name="KSO_WM_UNIT_FILL_FORE_SCHEMECOLOR_INDEX" val="13"/>
  <p:tag name="KSO_WM_UNIT_FILL_FORE_SCHEMECOLOR_INDEX_BRIGHTNESS" val="0.6"/>
  <p:tag name="KSO_WM_DIAGRAM_USE_COLOR_VALUE" val="{&quot;color_scheme&quot;:1,&quot;color_type&quot;:1,&quot;theme_color_indexes&quot;:[5,6,5,6,5,6]}"/>
</p:tagLst>
</file>

<file path=ppt/tags/tag11.xml><?xml version="1.0" encoding="utf-8"?>
<p:tagLst xmlns:p="http://schemas.openxmlformats.org/presentationml/2006/main">
  <p:tag name="KSO_WM_UNIT_SUBTYPE" val="a"/>
  <p:tag name="KSO_WM_UNIT_NOCLEAR" val="0"/>
  <p:tag name="KSO_WM_UNIT_VALUE" val="60"/>
  <p:tag name="KSO_WM_UNIT_HIGHLIGHT" val="0"/>
  <p:tag name="KSO_WM_UNIT_COMPATIBLE" val="0"/>
  <p:tag name="KSO_WM_UNIT_DIAGRAM_ISNUMVISUAL" val="0"/>
  <p:tag name="KSO_WM_UNIT_DIAGRAM_ISREFERUNIT" val="0"/>
  <p:tag name="KSO_WM_UNIT_TYPE" val="l_h_f"/>
  <p:tag name="KSO_WM_UNIT_INDEX" val="1_1_1"/>
  <p:tag name="KSO_WM_UNIT_ID" val="diagram20233213_1*l_h_f*1_1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UNIT_TEXT_FILL_FORE_SCHEMECOLOR_INDEX_BRIGHTNESS" val="0.25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.15000000596046448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UNIT_PRESET_TEXT" val="单击此处添加文本具体内容，简明扼要地阐述您的观点。根据需要可酌情增减文字，单击此处添加文本具体内容。"/>
  <p:tag name="KSO_WM_UNIT_TEXT_FILL_FORE_SCHEMECOLOR_INDEX" val="1"/>
  <p:tag name="KSO_WM_UNIT_TEXT_FILL_TYPE" val="1"/>
  <p:tag name="KSO_WM_UNIT_TEXT_TYPE" val="1"/>
  <p:tag name="KSO_WM_DIAGRAM_USE_COLOR_VALUE" val="{&quot;color_scheme&quot;:1,&quot;color_type&quot;:1,&quot;theme_color_indexes&quot;:[5,6,5,6,5,6]}"/>
</p:tagLst>
</file>

<file path=ppt/tags/tag12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VALUE" val="10"/>
  <p:tag name="KSO_WM_UNIT_HIGHLIGHT" val="0"/>
  <p:tag name="KSO_WM_UNIT_COMPATIBLE" val="0"/>
  <p:tag name="KSO_WM_UNIT_DIAGRAM_ISNUMVISUAL" val="0"/>
  <p:tag name="KSO_WM_UNIT_DIAGRAM_ISREFERUNIT" val="0"/>
  <p:tag name="KSO_WM_UNIT_TYPE" val="l_h_a"/>
  <p:tag name="KSO_WM_UNIT_INDEX" val="1_1_1"/>
  <p:tag name="KSO_WM_UNIT_ID" val="diagram20233213_1*l_h_a*1_1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UNIT_PRESET_TEXT" val="添加标题"/>
  <p:tag name="KSO_WM_UNIT_TEXT_FILL_FORE_SCHEMECOLOR_INDEX" val="1"/>
  <p:tag name="KSO_WM_UNIT_TEXT_FILL_TYPE" val="1"/>
  <p:tag name="KSO_WM_UNIT_TEXT_TYPE" val="1"/>
  <p:tag name="KSO_WM_DIAGRAM_USE_COLOR_VALUE" val="{&quot;color_scheme&quot;:1,&quot;color_type&quot;:1,&quot;theme_color_indexes&quot;:[5,6,5,6,5,6]}"/>
</p:tagLst>
</file>

<file path=ppt/tags/tag1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l_h_i"/>
  <p:tag name="KSO_WM_UNIT_INDEX" val="1_2_2"/>
  <p:tag name="KSO_WM_UNIT_ID" val="diagram20233213_1*l_h_i*1_2_2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solid&quot;:{&quot;brightness&quot;:0.6000000238418579,&quot;colorType&quot;:1,&quot;foreColorIndex&quot;:13,&quot;transparency&quot;:0.8500000238418579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UNIT_FILL_TYPE" val="1"/>
  <p:tag name="KSO_WM_UNIT_FILL_FORE_SCHEMECOLOR_INDEX" val="13"/>
  <p:tag name="KSO_WM_UNIT_FILL_FORE_SCHEMECOLOR_INDEX_BRIGHTNESS" val="0.6"/>
  <p:tag name="KSO_WM_DIAGRAM_USE_COLOR_VALUE" val="{&quot;color_scheme&quot;:1,&quot;color_type&quot;:1,&quot;theme_color_indexes&quot;:[5,6,5,6,5,6]}"/>
</p:tagLst>
</file>

<file path=ppt/tags/tag14.xml><?xml version="1.0" encoding="utf-8"?>
<p:tagLst xmlns:p="http://schemas.openxmlformats.org/presentationml/2006/main">
  <p:tag name="KSO_WM_UNIT_SUBTYPE" val="a"/>
  <p:tag name="KSO_WM_UNIT_NOCLEAR" val="0"/>
  <p:tag name="KSO_WM_UNIT_VALUE" val="60"/>
  <p:tag name="KSO_WM_UNIT_HIGHLIGHT" val="0"/>
  <p:tag name="KSO_WM_UNIT_COMPATIBLE" val="0"/>
  <p:tag name="KSO_WM_UNIT_DIAGRAM_ISNUMVISUAL" val="0"/>
  <p:tag name="KSO_WM_UNIT_DIAGRAM_ISREFERUNIT" val="0"/>
  <p:tag name="KSO_WM_UNIT_TYPE" val="l_h_f"/>
  <p:tag name="KSO_WM_UNIT_INDEX" val="1_2_1"/>
  <p:tag name="KSO_WM_UNIT_ID" val="diagram20233213_1*l_h_f*1_2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UNIT_TEXT_FILL_FORE_SCHEMECOLOR_INDEX_BRIGHTNESS" val="0.25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.15000000596046448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UNIT_PRESET_TEXT" val="单击此处添加文本具体内容，简明扼要地阐述您的观点。根据需要可酌情增减文字，单击此处添加文本具体内容。"/>
  <p:tag name="KSO_WM_UNIT_TEXT_FILL_FORE_SCHEMECOLOR_INDEX" val="1"/>
  <p:tag name="KSO_WM_UNIT_TEXT_FILL_TYPE" val="1"/>
  <p:tag name="KSO_WM_UNIT_TEXT_TYPE" val="1"/>
  <p:tag name="KSO_WM_DIAGRAM_USE_COLOR_VALUE" val="{&quot;color_scheme&quot;:1,&quot;color_type&quot;:1,&quot;theme_color_indexes&quot;:[5,6,5,6,5,6]}"/>
</p:tagLst>
</file>

<file path=ppt/tags/tag15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VALUE" val="10"/>
  <p:tag name="KSO_WM_UNIT_HIGHLIGHT" val="0"/>
  <p:tag name="KSO_WM_UNIT_COMPATIBLE" val="0"/>
  <p:tag name="KSO_WM_UNIT_DIAGRAM_ISNUMVISUAL" val="0"/>
  <p:tag name="KSO_WM_UNIT_DIAGRAM_ISREFERUNIT" val="0"/>
  <p:tag name="KSO_WM_UNIT_TYPE" val="l_h_a"/>
  <p:tag name="KSO_WM_UNIT_INDEX" val="1_2_1"/>
  <p:tag name="KSO_WM_UNIT_ID" val="diagram20233213_1*l_h_a*1_2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UNIT_PRESET_TEXT" val="添加标题"/>
  <p:tag name="KSO_WM_UNIT_TEXT_FILL_FORE_SCHEMECOLOR_INDEX" val="1"/>
  <p:tag name="KSO_WM_UNIT_TEXT_FILL_TYPE" val="1"/>
  <p:tag name="KSO_WM_UNIT_TEXT_TYPE" val="1"/>
  <p:tag name="KSO_WM_DIAGRAM_USE_COLOR_VALUE" val="{&quot;color_scheme&quot;:1,&quot;color_type&quot;:1,&quot;theme_color_indexes&quot;:[5,6,5,6,5,6]}"/>
</p:tagLst>
</file>

<file path=ppt/tags/tag1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l_h_i"/>
  <p:tag name="KSO_WM_UNIT_INDEX" val="1_3_2"/>
  <p:tag name="KSO_WM_UNIT_ID" val="diagram20233213_1*l_h_i*1_3_2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solid&quot;:{&quot;brightness&quot;:0.6000000238418579,&quot;colorType&quot;:1,&quot;foreColorIndex&quot;:13,&quot;transparency&quot;:0.8500000238418579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UNIT_FILL_TYPE" val="1"/>
  <p:tag name="KSO_WM_UNIT_FILL_FORE_SCHEMECOLOR_INDEX" val="13"/>
  <p:tag name="KSO_WM_UNIT_FILL_FORE_SCHEMECOLOR_INDEX_BRIGHTNESS" val="0.6"/>
  <p:tag name="KSO_WM_DIAGRAM_USE_COLOR_VALUE" val="{&quot;color_scheme&quot;:1,&quot;color_type&quot;:1,&quot;theme_color_indexes&quot;:[5,6,5,6,5,6]}"/>
</p:tagLst>
</file>

<file path=ppt/tags/tag17.xml><?xml version="1.0" encoding="utf-8"?>
<p:tagLst xmlns:p="http://schemas.openxmlformats.org/presentationml/2006/main">
  <p:tag name="KSO_WM_UNIT_SUBTYPE" val="a"/>
  <p:tag name="KSO_WM_UNIT_NOCLEAR" val="0"/>
  <p:tag name="KSO_WM_UNIT_VALUE" val="60"/>
  <p:tag name="KSO_WM_UNIT_HIGHLIGHT" val="0"/>
  <p:tag name="KSO_WM_UNIT_COMPATIBLE" val="0"/>
  <p:tag name="KSO_WM_UNIT_DIAGRAM_ISNUMVISUAL" val="0"/>
  <p:tag name="KSO_WM_UNIT_DIAGRAM_ISREFERUNIT" val="0"/>
  <p:tag name="KSO_WM_UNIT_TYPE" val="l_h_f"/>
  <p:tag name="KSO_WM_UNIT_INDEX" val="1_3_1"/>
  <p:tag name="KSO_WM_UNIT_ID" val="diagram20233213_1*l_h_f*1_3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UNIT_TEXT_FILL_FORE_SCHEMECOLOR_INDEX_BRIGHTNESS" val="0.25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.15000000596046448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UNIT_PRESET_TEXT" val="单击此处添加文本具体内容，简明扼要地阐述您的观点。根据需要可酌情增减文字，单击此处添加文本具体内容。"/>
  <p:tag name="KSO_WM_UNIT_TEXT_FILL_FORE_SCHEMECOLOR_INDEX" val="1"/>
  <p:tag name="KSO_WM_UNIT_TEXT_FILL_TYPE" val="1"/>
  <p:tag name="KSO_WM_UNIT_TEXT_TYPE" val="1"/>
  <p:tag name="KSO_WM_DIAGRAM_USE_COLOR_VALUE" val="{&quot;color_scheme&quot;:1,&quot;color_type&quot;:1,&quot;theme_color_indexes&quot;:[5,6,5,6,5,6]}"/>
</p:tagLst>
</file>

<file path=ppt/tags/tag18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VALUE" val="10"/>
  <p:tag name="KSO_WM_UNIT_HIGHLIGHT" val="0"/>
  <p:tag name="KSO_WM_UNIT_COMPATIBLE" val="0"/>
  <p:tag name="KSO_WM_UNIT_DIAGRAM_ISNUMVISUAL" val="0"/>
  <p:tag name="KSO_WM_UNIT_DIAGRAM_ISREFERUNIT" val="0"/>
  <p:tag name="KSO_WM_UNIT_TYPE" val="l_h_a"/>
  <p:tag name="KSO_WM_UNIT_INDEX" val="1_3_1"/>
  <p:tag name="KSO_WM_UNIT_ID" val="diagram20233213_1*l_h_a*1_3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UNIT_PRESET_TEXT" val="添加标题"/>
  <p:tag name="KSO_WM_UNIT_TEXT_FILL_FORE_SCHEMECOLOR_INDEX" val="1"/>
  <p:tag name="KSO_WM_UNIT_TEXT_FILL_TYPE" val="1"/>
  <p:tag name="KSO_WM_UNIT_TEXT_TYPE" val="1"/>
  <p:tag name="KSO_WM_DIAGRAM_USE_COLOR_VALUE" val="{&quot;color_scheme&quot;:1,&quot;color_type&quot;:1,&quot;theme_color_indexes&quot;:[5,6,5,6,5,6]}"/>
</p:tagLst>
</file>

<file path=ppt/tags/tag1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l_h_i"/>
  <p:tag name="KSO_WM_UNIT_INDEX" val="1_5_2"/>
  <p:tag name="KSO_WM_UNIT_ID" val="diagram20233213_1*l_h_i*1_5_2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solid&quot;:{&quot;brightness&quot;:0.6000000238418579,&quot;colorType&quot;:1,&quot;foreColorIndex&quot;:13,&quot;transparency&quot;:0.8500000238418579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UNIT_FILL_TYPE" val="1"/>
  <p:tag name="KSO_WM_UNIT_FILL_FORE_SCHEMECOLOR_INDEX" val="13"/>
  <p:tag name="KSO_WM_UNIT_FILL_FORE_SCHEMECOLOR_INDEX_BRIGHTNESS" val="0.6"/>
  <p:tag name="KSO_WM_DIAGRAM_USE_COLOR_VALUE" val="{&quot;color_scheme&quot;:1,&quot;color_type&quot;:1,&quot;theme_color_indexes&quot;:[5,6,5,6,5,6]}"/>
</p:tagLst>
</file>

<file path=ppt/tags/tag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20.xml><?xml version="1.0" encoding="utf-8"?>
<p:tagLst xmlns:p="http://schemas.openxmlformats.org/presentationml/2006/main">
  <p:tag name="KSO_WM_UNIT_SUBTYPE" val="a"/>
  <p:tag name="KSO_WM_UNIT_NOCLEAR" val="0"/>
  <p:tag name="KSO_WM_UNIT_VALUE" val="60"/>
  <p:tag name="KSO_WM_UNIT_HIGHLIGHT" val="0"/>
  <p:tag name="KSO_WM_UNIT_COMPATIBLE" val="0"/>
  <p:tag name="KSO_WM_UNIT_DIAGRAM_ISNUMVISUAL" val="0"/>
  <p:tag name="KSO_WM_UNIT_DIAGRAM_ISREFERUNIT" val="0"/>
  <p:tag name="KSO_WM_UNIT_TYPE" val="l_h_f"/>
  <p:tag name="KSO_WM_UNIT_INDEX" val="1_5_1"/>
  <p:tag name="KSO_WM_UNIT_ID" val="diagram20233213_1*l_h_f*1_5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UNIT_TEXT_FILL_FORE_SCHEMECOLOR_INDEX_BRIGHTNESS" val="0.25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.15000000596046448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UNIT_PRESET_TEXT" val="单击此处添加文本具体内容，简明扼要地阐述您的观点。根据需要可酌情增减文字，单击此处添加文本具体内容。"/>
  <p:tag name="KSO_WM_UNIT_TEXT_FILL_FORE_SCHEMECOLOR_INDEX" val="1"/>
  <p:tag name="KSO_WM_UNIT_TEXT_FILL_TYPE" val="1"/>
  <p:tag name="KSO_WM_UNIT_TEXT_TYPE" val="1"/>
  <p:tag name="KSO_WM_DIAGRAM_USE_COLOR_VALUE" val="{&quot;color_scheme&quot;:1,&quot;color_type&quot;:1,&quot;theme_color_indexes&quot;:[5,6,5,6,5,6]}"/>
</p:tagLst>
</file>

<file path=ppt/tags/tag21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VALUE" val="10"/>
  <p:tag name="KSO_WM_UNIT_HIGHLIGHT" val="0"/>
  <p:tag name="KSO_WM_UNIT_COMPATIBLE" val="0"/>
  <p:tag name="KSO_WM_UNIT_DIAGRAM_ISNUMVISUAL" val="0"/>
  <p:tag name="KSO_WM_UNIT_DIAGRAM_ISREFERUNIT" val="0"/>
  <p:tag name="KSO_WM_UNIT_TYPE" val="l_h_a"/>
  <p:tag name="KSO_WM_UNIT_INDEX" val="1_5_1"/>
  <p:tag name="KSO_WM_UNIT_ID" val="diagram20233213_1*l_h_a*1_5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UNIT_PRESET_TEXT" val="添加标题"/>
  <p:tag name="KSO_WM_UNIT_TEXT_FILL_FORE_SCHEMECOLOR_INDEX" val="1"/>
  <p:tag name="KSO_WM_UNIT_TEXT_FILL_TYPE" val="1"/>
  <p:tag name="KSO_WM_UNIT_TEXT_TYPE" val="1"/>
  <p:tag name="KSO_WM_DIAGRAM_USE_COLOR_VALUE" val="{&quot;color_scheme&quot;:1,&quot;color_type&quot;:1,&quot;theme_color_indexes&quot;:[5,6,5,6,5,6]}"/>
</p:tagLst>
</file>

<file path=ppt/tags/tag2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l_h_i"/>
  <p:tag name="KSO_WM_UNIT_INDEX" val="1_1_1"/>
  <p:tag name="KSO_WM_UNIT_ID" val="diagram20233213_1*l_h_i*1_1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solid&quot;:{&quot;brightness&quot;:0,&quot;colorType&quot;:2,&quot;rgb&quot;:&quot;#dddddd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DIAGRAM_USE_COLOR_VALUE" val="{&quot;color_scheme&quot;:1,&quot;color_type&quot;:1,&quot;theme_color_indexes&quot;:[5,6,5,6,5,6]}"/>
</p:tagLst>
</file>

<file path=ppt/tags/tag2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l_h_i"/>
  <p:tag name="KSO_WM_UNIT_INDEX" val="1_2_1"/>
  <p:tag name="KSO_WM_UNIT_ID" val="diagram20233213_1*l_h_i*1_2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solid&quot;:{&quot;brightness&quot;:0,&quot;colorType&quot;:2,&quot;rgb&quot;:&quot;#dddddd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DIAGRAM_USE_COLOR_VALUE" val="{&quot;color_scheme&quot;:1,&quot;color_type&quot;:1,&quot;theme_color_indexes&quot;:[5,6,5,6,5,6]}"/>
</p:tagLst>
</file>

<file path=ppt/tags/tag2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l_h_i"/>
  <p:tag name="KSO_WM_UNIT_INDEX" val="1_3_1"/>
  <p:tag name="KSO_WM_UNIT_ID" val="diagram20233213_1*l_h_i*1_3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solid&quot;:{&quot;brightness&quot;:0,&quot;colorType&quot;:2,&quot;rgb&quot;:&quot;#dddddd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DIAGRAM_USE_COLOR_VALUE" val="{&quot;color_scheme&quot;:1,&quot;color_type&quot;:1,&quot;theme_color_indexes&quot;:[5,6,5,6,5,6]}"/>
</p:tagLst>
</file>

<file path=ppt/tags/tag2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l_h_i"/>
  <p:tag name="KSO_WM_UNIT_INDEX" val="1_5_1"/>
  <p:tag name="KSO_WM_UNIT_ID" val="diagram20233213_1*l_h_i*1_5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solid&quot;:{&quot;brightness&quot;:0,&quot;colorType&quot;:2,&quot;rgb&quot;:&quot;#dddddd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DIAGRAM_USE_COLOR_VALUE" val="{&quot;color_scheme&quot;:1,&quot;color_type&quot;:1,&quot;theme_color_indexes&quot;:[5,6,5,6,5,6]}"/>
</p:tagLst>
</file>

<file path=ppt/tags/tag26.xml><?xml version="1.0" encoding="utf-8"?>
<p:tagLst xmlns:p="http://schemas.openxmlformats.org/presentationml/2006/main">
  <p:tag name="KSO_WM_UNIT_VALUE" val="137*137"/>
  <p:tag name="KSO_WM_UNIT_HIGHLIGHT" val="0"/>
  <p:tag name="KSO_WM_UNIT_COMPATIBLE" val="0"/>
  <p:tag name="KSO_WM_UNIT_DIAGRAM_ISNUMVISUAL" val="0"/>
  <p:tag name="KSO_WM_UNIT_DIAGRAM_ISREFERUNIT" val="0"/>
  <p:tag name="KSO_WM_UNIT_TYPE" val="l_h_x"/>
  <p:tag name="KSO_WM_UNIT_INDEX" val="1_1_1"/>
  <p:tag name="KSO_WM_UNIT_ID" val="diagram20233213_1*l_h_x*1_1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TRICK" val="1"/>
  <p:tag name="KSO_WM_DIAGRAM_COLOR_MATCH_VALUE" val="{&quot;shape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},&quot;glow&quot;:{},&quot;line&quot;:{},&quot;shadow&quot;:{},&quot;threeD&quot;:{}}}"/>
  <p:tag name="KSO_WM_UNIT_FILL_FORE_SCHEMECOLOR_INDEX" val="13"/>
  <p:tag name="KSO_WM_UNIT_FILL_FORE_SCHEMECOLOR_INDEX_BRIGHTNESS" val="0"/>
  <p:tag name="KSO_WM_DIAGRAM_USE_COLOR_VALUE" val="{&quot;color_scheme&quot;:1,&quot;color_type&quot;:1,&quot;theme_color_indexes&quot;:[5,6,5,6,5,6]}"/>
</p:tagLst>
</file>

<file path=ppt/tags/tag27.xml><?xml version="1.0" encoding="utf-8"?>
<p:tagLst xmlns:p="http://schemas.openxmlformats.org/presentationml/2006/main">
  <p:tag name="KSO_WM_UNIT_VALUE" val="139*139"/>
  <p:tag name="KSO_WM_UNIT_HIGHLIGHT" val="0"/>
  <p:tag name="KSO_WM_UNIT_COMPATIBLE" val="0"/>
  <p:tag name="KSO_WM_UNIT_DIAGRAM_ISNUMVISUAL" val="0"/>
  <p:tag name="KSO_WM_UNIT_DIAGRAM_ISREFERUNIT" val="0"/>
  <p:tag name="KSO_WM_UNIT_TYPE" val="l_h_x"/>
  <p:tag name="KSO_WM_UNIT_INDEX" val="1_5_1"/>
  <p:tag name="KSO_WM_UNIT_ID" val="diagram20233213_1*l_h_x*1_5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TRICK" val="1"/>
  <p:tag name="KSO_WM_DIAGRAM_COLOR_MATCH_VALUE" val="{&quot;shape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},&quot;glow&quot;:{},&quot;line&quot;:{},&quot;shadow&quot;:{},&quot;threeD&quot;:{}}}"/>
  <p:tag name="KSO_WM_UNIT_FILL_FORE_SCHEMECOLOR_INDEX" val="13"/>
  <p:tag name="KSO_WM_UNIT_FILL_FORE_SCHEMECOLOR_INDEX_BRIGHTNESS" val="0"/>
  <p:tag name="KSO_WM_DIAGRAM_USE_COLOR_VALUE" val="{&quot;color_scheme&quot;:1,&quot;color_type&quot;:1,&quot;theme_color_indexes&quot;:[5,6,5,6,5,6]}"/>
</p:tagLst>
</file>

<file path=ppt/tags/tag28.xml><?xml version="1.0" encoding="utf-8"?>
<p:tagLst xmlns:p="http://schemas.openxmlformats.org/presentationml/2006/main">
  <p:tag name="KSO_WM_UNIT_VALUE" val="139*139"/>
  <p:tag name="KSO_WM_UNIT_HIGHLIGHT" val="0"/>
  <p:tag name="KSO_WM_UNIT_COMPATIBLE" val="0"/>
  <p:tag name="KSO_WM_UNIT_DIAGRAM_ISNUMVISUAL" val="0"/>
  <p:tag name="KSO_WM_UNIT_DIAGRAM_ISREFERUNIT" val="0"/>
  <p:tag name="KSO_WM_UNIT_TYPE" val="l_h_x"/>
  <p:tag name="KSO_WM_UNIT_INDEX" val="1_2_1"/>
  <p:tag name="KSO_WM_UNIT_ID" val="diagram20233213_1*l_h_x*1_2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TRICK" val="1"/>
  <p:tag name="KSO_WM_DIAGRAM_COLOR_MATCH_VALUE" val="{&quot;shape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},&quot;glow&quot;:{},&quot;line&quot;:{},&quot;shadow&quot;:{},&quot;threeD&quot;:{}}}"/>
  <p:tag name="KSO_WM_UNIT_FILL_FORE_SCHEMECOLOR_INDEX" val="13"/>
  <p:tag name="KSO_WM_UNIT_FILL_FORE_SCHEMECOLOR_INDEX_BRIGHTNESS" val="0"/>
  <p:tag name="KSO_WM_DIAGRAM_USE_COLOR_VALUE" val="{&quot;color_scheme&quot;:1,&quot;color_type&quot;:1,&quot;theme_color_indexes&quot;:[5,6,5,6,5,6]}"/>
</p:tagLst>
</file>

<file path=ppt/tags/tag29.xml><?xml version="1.0" encoding="utf-8"?>
<p:tagLst xmlns:p="http://schemas.openxmlformats.org/presentationml/2006/main">
  <p:tag name="KSO_WM_UNIT_VALUE" val="139*139"/>
  <p:tag name="KSO_WM_UNIT_HIGHLIGHT" val="0"/>
  <p:tag name="KSO_WM_UNIT_COMPATIBLE" val="0"/>
  <p:tag name="KSO_WM_UNIT_DIAGRAM_ISNUMVISUAL" val="0"/>
  <p:tag name="KSO_WM_UNIT_DIAGRAM_ISREFERUNIT" val="0"/>
  <p:tag name="KSO_WM_UNIT_TYPE" val="l_h_x"/>
  <p:tag name="KSO_WM_UNIT_INDEX" val="1_3_1"/>
  <p:tag name="KSO_WM_UNIT_ID" val="diagram20233213_1*l_h_x*1_3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TRICK" val="1"/>
  <p:tag name="KSO_WM_DIAGRAM_COLOR_MATCH_VALUE" val="{&quot;shape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},&quot;glow&quot;:{},&quot;line&quot;:{},&quot;shadow&quot;:{},&quot;threeD&quot;:{}}}"/>
  <p:tag name="KSO_WM_UNIT_FILL_FORE_SCHEMECOLOR_INDEX" val="13"/>
  <p:tag name="KSO_WM_UNIT_FILL_FORE_SCHEMECOLOR_INDEX_BRIGHTNESS" val="0"/>
  <p:tag name="KSO_WM_DIAGRAM_USE_COLOR_VALUE" val="{&quot;color_scheme&quot;:1,&quot;color_type&quot;:1,&quot;theme_color_indexes&quot;:[5,6,5,6,5,6]}"/>
</p:tagLst>
</file>

<file path=ppt/tags/tag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3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l_h_i"/>
  <p:tag name="KSO_WM_UNIT_INDEX" val="1_2_2"/>
  <p:tag name="KSO_WM_UNIT_ID" val="diagram20233213_1*l_h_i*1_2_2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solid&quot;:{&quot;brightness&quot;:0.6000000238418579,&quot;colorType&quot;:1,&quot;foreColorIndex&quot;:13,&quot;transparency&quot;:0.8500000238418579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UNIT_FILL_TYPE" val="1"/>
  <p:tag name="KSO_WM_UNIT_FILL_FORE_SCHEMECOLOR_INDEX" val="13"/>
  <p:tag name="KSO_WM_UNIT_FILL_FORE_SCHEMECOLOR_INDEX_BRIGHTNESS" val="0.6"/>
  <p:tag name="KSO_WM_DIAGRAM_USE_COLOR_VALUE" val="{&quot;color_scheme&quot;:1,&quot;color_type&quot;:1,&quot;theme_color_indexes&quot;:[5,6,5,6,5,6]}"/>
</p:tagLst>
</file>

<file path=ppt/tags/tag31.xml><?xml version="1.0" encoding="utf-8"?>
<p:tagLst xmlns:p="http://schemas.openxmlformats.org/presentationml/2006/main">
  <p:tag name="KSO_WM_UNIT_SUBTYPE" val="a"/>
  <p:tag name="KSO_WM_UNIT_NOCLEAR" val="0"/>
  <p:tag name="KSO_WM_UNIT_VALUE" val="60"/>
  <p:tag name="KSO_WM_UNIT_HIGHLIGHT" val="0"/>
  <p:tag name="KSO_WM_UNIT_COMPATIBLE" val="0"/>
  <p:tag name="KSO_WM_UNIT_DIAGRAM_ISNUMVISUAL" val="0"/>
  <p:tag name="KSO_WM_UNIT_DIAGRAM_ISREFERUNIT" val="0"/>
  <p:tag name="KSO_WM_UNIT_TYPE" val="l_h_f"/>
  <p:tag name="KSO_WM_UNIT_INDEX" val="1_2_1"/>
  <p:tag name="KSO_WM_UNIT_ID" val="diagram20233213_1*l_h_f*1_2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UNIT_TEXT_FILL_FORE_SCHEMECOLOR_INDEX_BRIGHTNESS" val="0.25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.15000000596046448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UNIT_PRESET_TEXT" val="单击此处添加文本具体内容，简明扼要地阐述您的观点。根据需要可酌情增减文字，单击此处添加文本具体内容。"/>
  <p:tag name="KSO_WM_UNIT_TEXT_FILL_FORE_SCHEMECOLOR_INDEX" val="1"/>
  <p:tag name="KSO_WM_UNIT_TEXT_FILL_TYPE" val="1"/>
  <p:tag name="KSO_WM_UNIT_TEXT_TYPE" val="1"/>
  <p:tag name="KSO_WM_DIAGRAM_USE_COLOR_VALUE" val="{&quot;color_scheme&quot;:1,&quot;color_type&quot;:1,&quot;theme_color_indexes&quot;:[5,6,5,6,5,6]}"/>
</p:tagLst>
</file>

<file path=ppt/tags/tag32.xml><?xml version="1.0" encoding="utf-8"?>
<p:tagLst xmlns:p="http://schemas.openxmlformats.org/presentationml/2006/main">
  <p:tag name="KSO_WM_UNIT_ISCONTENTSTITLE" val="0"/>
  <p:tag name="KSO_WM_UNIT_ISNUMDGMTITLE" val="0"/>
  <p:tag name="KSO_WM_UNIT_NOCLEAR" val="0"/>
  <p:tag name="KSO_WM_UNIT_VALUE" val="10"/>
  <p:tag name="KSO_WM_UNIT_HIGHLIGHT" val="0"/>
  <p:tag name="KSO_WM_UNIT_COMPATIBLE" val="0"/>
  <p:tag name="KSO_WM_UNIT_DIAGRAM_ISNUMVISUAL" val="0"/>
  <p:tag name="KSO_WM_UNIT_DIAGRAM_ISREFERUNIT" val="0"/>
  <p:tag name="KSO_WM_UNIT_TYPE" val="l_h_a"/>
  <p:tag name="KSO_WM_UNIT_INDEX" val="1_2_1"/>
  <p:tag name="KSO_WM_UNIT_ID" val="diagram20233213_1*l_h_a*1_2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type&quot;:0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UNIT_PRESET_TEXT" val="添加标题"/>
  <p:tag name="KSO_WM_UNIT_TEXT_FILL_FORE_SCHEMECOLOR_INDEX" val="1"/>
  <p:tag name="KSO_WM_UNIT_TEXT_FILL_TYPE" val="1"/>
  <p:tag name="KSO_WM_UNIT_TEXT_TYPE" val="1"/>
  <p:tag name="KSO_WM_DIAGRAM_USE_COLOR_VALUE" val="{&quot;color_scheme&quot;:1,&quot;color_type&quot;:1,&quot;theme_color_indexes&quot;:[5,6,5,6,5,6]}"/>
</p:tagLst>
</file>

<file path=ppt/tags/tag3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l_h_i"/>
  <p:tag name="KSO_WM_UNIT_INDEX" val="1_2_1"/>
  <p:tag name="KSO_WM_UNIT_ID" val="diagram20233213_1*l_h_i*1_2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solid&quot;:{&quot;brightness&quot;:0,&quot;colorType&quot;:2,&quot;rgb&quot;:&quot;#dddddd&quot;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COLOR_TRICK" val="1"/>
  <p:tag name="KSO_WM_DIAGRAM_USE_COLOR_VALUE" val="{&quot;color_scheme&quot;:1,&quot;color_type&quot;:1,&quot;theme_color_indexes&quot;:[5,6,5,6,5,6]}"/>
</p:tagLst>
</file>

<file path=ppt/tags/tag34.xml><?xml version="1.0" encoding="utf-8"?>
<p:tagLst xmlns:p="http://schemas.openxmlformats.org/presentationml/2006/main">
  <p:tag name="KSO_WM_UNIT_VALUE" val="139*139"/>
  <p:tag name="KSO_WM_UNIT_HIGHLIGHT" val="0"/>
  <p:tag name="KSO_WM_UNIT_COMPATIBLE" val="0"/>
  <p:tag name="KSO_WM_UNIT_DIAGRAM_ISNUMVISUAL" val="0"/>
  <p:tag name="KSO_WM_UNIT_DIAGRAM_ISREFERUNIT" val="0"/>
  <p:tag name="KSO_WM_UNIT_TYPE" val="l_h_x"/>
  <p:tag name="KSO_WM_UNIT_INDEX" val="1_2_1"/>
  <p:tag name="KSO_WM_UNIT_ID" val="diagram20233213_1*l_h_x*1_2_1"/>
  <p:tag name="KSO_WM_TEMPLATE_CATEGORY" val="diagram"/>
  <p:tag name="KSO_WM_TEMPLATE_INDEX" val="20233213"/>
  <p:tag name="KSO_WM_UNIT_LAYERLEVEL" val="1_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TRICK" val="1"/>
  <p:tag name="KSO_WM_DIAGRAM_COLOR_MATCH_VALUE" val="{&quot;shape&quot;:{&quot;fill&quot;:{&quot;solid&quot;:{&quot;brightness&quot;:0,&quot;colorType&quot;:1,&quot;foreColorIndex&quot;:5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},&quot;glow&quot;:{},&quot;line&quot;:{},&quot;shadow&quot;:{},&quot;threeD&quot;:{}}}"/>
  <p:tag name="KSO_WM_UNIT_FILL_FORE_SCHEMECOLOR_INDEX" val="13"/>
  <p:tag name="KSO_WM_UNIT_FILL_FORE_SCHEMECOLOR_INDEX_BRIGHTNESS" val="0"/>
  <p:tag name="KSO_WM_DIAGRAM_USE_COLOR_VALUE" val="{&quot;color_scheme&quot;:1,&quot;color_type&quot;:1,&quot;theme_color_indexes&quot;:[5,6,5,6,5,6]}"/>
</p:tagLst>
</file>

<file path=ppt/tags/tag3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5187_3*l_i*1_4"/>
  <p:tag name="KSO_WM_TEMPLATE_CATEGORY" val="diagram"/>
  <p:tag name="KSO_WM_TEMPLATE_INDEX" val="20235187"/>
  <p:tag name="KSO_WM_UNIT_LAYERLEVEL" val="1_1"/>
  <p:tag name="KSO_WM_TAG_VERSION" val="3.0"/>
  <p:tag name="KSO_WM_BEAUTIFY_FLAG" val="#wm#"/>
  <p:tag name="KSO_WM_DIAGRAM_GROUP_CODE" val="l1-1"/>
  <p:tag name="KSO_WM_UNIT_TYPE" val="l_i"/>
  <p:tag name="KSO_WM_UNIT_INDEX" val="1_4"/>
  <p:tag name="KSO_WM_DIAGRAM_VERSION" val="3"/>
  <p:tag name="KSO_WM_DIAGRAM_COLOR_TRICK" val="4"/>
  <p:tag name="KSO_WM_DIAGRAM_COLOR_TEXT_CAN_REMOVE" val="n"/>
  <p:tag name="KSO_WM_UNIT_LINE_FORE_SCHEMECOLOR_INDEX" val="15"/>
  <p:tag name="KSO_WM_DIAGRAM_MAX_ITEMCNT" val="6"/>
  <p:tag name="KSO_WM_DIAGRAM_MIN_ITEMCNT" val="2"/>
  <p:tag name="KSO_WM_DIAGRAM_VIRTUALLY_FRAME" val="{&quot;height&quot;:312.80487060546875,&quot;left&quot;:40.03507222333292,&quot;top&quot;:66.61016312246247,&quot;width&quot;:410.70646972656243}"/>
  <p:tag name="KSO_WM_DIAGRAM_COLOR_MATCH_VALUE" val="{&quot;shape&quot;:{&quot;fill&quot;:{&quot;type&quot;:0},&quot;glow&quot;:{&quot;colorType&quot;:0},&quot;line&quot;:{&quot;solidLine&quot;:{&quot;brightness&quot;:0.5,&quot;colorType&quot;:1,&quot;foreColorIndex&quot;:15,&quot;transparency&quot;:0.8999999761581421},&quot;type&quot;:1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13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  <p:tag name="KSO_WM_DIAGRAM_USE_COLOR_VALUE" val="{&quot;color_scheme&quot;:1,&quot;color_type&quot;:1,&quot;theme_color_indexes&quot;:[5,6,5,6,5,6]}"/>
</p:tagLst>
</file>

<file path=ppt/tags/tag36.xml><?xml version="1.0" encoding="utf-8"?>
<p:tagLst xmlns:p="http://schemas.openxmlformats.org/presentationml/2006/main">
  <p:tag name="COMMONDATA" val="eyJoZGlkIjoiNGM0YmJmNmU1YmI2YmRiMjgxNzUxNWIzYTliOTRhNTIifQ=="/>
  <p:tag name="RESOURCE_RECORD_KEY" val="{&quot;13&quot;:[19971666],&quot;70&quot;:[3327696,3318361,3326188,3318897,3327302,3312662,3332763,3313593,3332738]}"/>
  <p:tag name="resource_record_key" val="{&quot;13&quot;:[19971666],&quot;70&quot;:[3327696,3318361,3326188,3318897,3327302,3312662,3332763,3313593,3332738,3312479]}"/>
</p:tagLst>
</file>

<file path=ppt/tags/tag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3.0"/>
  <p:tag name="KSO_WM_BEAUTIFY_FLAG" val="#wm#"/>
</p:tagLst>
</file>

<file path=ppt/tags/tag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3.0"/>
  <p:tag name="KSO_WM_BEAUTIFY_FLAG" val="#wm#"/>
</p:tagLst>
</file>

<file path=ppt/tags/tag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3.0"/>
  <p:tag name="KSO_WM_BEAUTIFY_FLAG" val="#wm#"/>
</p:tagLst>
</file>

<file path=ppt/tags/tag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3.0"/>
  <p:tag name="KSO_WM_BEAUTIFY_FLAG" val="#wm#"/>
</p:tagLst>
</file>

<file path=ppt/tags/tag8.xml><?xml version="1.0" encoding="utf-8"?>
<p:tagLst xmlns:p="http://schemas.openxmlformats.org/presentationml/2006/main">
  <p:tag name="THINKCELLSHAPEDONOTDELETE" val="tA6S0wzOvQ8a50SA42PUNRg"/>
</p:tagLst>
</file>

<file path=ppt/tags/tag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TYPE" val="l_i"/>
  <p:tag name="KSO_WM_UNIT_INDEX" val="1_1"/>
  <p:tag name="KSO_WM_UNIT_ID" val="diagram20233213_1*l_i*1_1"/>
  <p:tag name="KSO_WM_TEMPLATE_CATEGORY" val="diagram"/>
  <p:tag name="KSO_WM_TEMPLATE_INDEX" val="20233213"/>
  <p:tag name="KSO_WM_UNIT_LAYERLEVEL" val="1_1"/>
  <p:tag name="KSO_WM_TAG_VERSION" val="3.0"/>
  <p:tag name="KSO_WM_BEAUTIFY_FLAG" val="#wm#"/>
  <p:tag name="KSO_WM_DIAGRAM_GROUP_CODE" val="l1-1"/>
  <p:tag name="KSO_WM_DIAGRAM_VERSION" val="3"/>
  <p:tag name="KSO_WM_DIAGRAM_COLOR_TEXT_CAN_REMOVE" val="n"/>
  <p:tag name="KSO_WM_DIAGRAM_MAX_ITEMCNT" val="5"/>
  <p:tag name="KSO_WM_DIAGRAM_MIN_ITEMCNT" val="5"/>
  <p:tag name="KSO_WM_DIAGRAM_VIRTUALLY_FRAME" val="{&quot;height&quot;:319.960157480315,&quot;left&quot;:54.62503937007874,&quot;top&quot;:115.04999999999995,&quot;width&quot;:850.9077952755904}"/>
  <p:tag name="KSO_WM_DIAGRAM_COLOR_MATCH_VALUE" val="{&quot;shape&quot;:{&quot;fill&quot;:{&quot;type&quot;:0},&quot;glow&quot;:{&quot;colorType&quot;:0},&quot;line&quot;:{&quot;solidLine&quot;:{&quot;brightness&quot;:0,&quot;colorType&quot;:2,&quot;rgb&quot;:&quot;#dddddd&quot;,&quot;transparency&quot;:0.6000000238418579},&quot;type&quot;:1},&quot;shadow&quot;:{&quot;colorType&quot;:0},&quot;threeD&quot;:{&quot;curvedSurface&quot;:{&quot;brightness&quot;:0,&quot;colorType&quot;:2,&quot;rgb&quot;:&quot;#000000&quot;},&quot;depth&quot;:{&quot;colorType&quot;:0}}},&quot;text&quot;:{&quot;fill&quot;:{},&quot;glow&quot;:{},&quot;line&quot;:{},&quot;shadow&quot;:{},&quot;threeD&quot;:{}}}"/>
  <p:tag name="KSO_WM_DIAGRAM_COLOR_TRICK" val="1"/>
  <p:tag name="KSO_WM_DIAGRAM_USE_COLOR_VALUE" val="{&quot;color_scheme&quot;:1,&quot;color_type&quot;:1,&quot;theme_color_indexes&quot;:[5,6,5,6,5,6]}"/>
</p:tagLst>
</file>

<file path=ppt/theme/theme1.xml><?xml version="1.0" encoding="utf-8"?>
<a:theme xmlns:a="http://schemas.openxmlformats.org/drawingml/2006/main" name="主题5">
  <a:themeElements>
    <a:clrScheme name="金宝主题色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4DFF"/>
      </a:accent1>
      <a:accent2>
        <a:srgbClr val="00BEFF"/>
      </a:accent2>
      <a:accent3>
        <a:srgbClr val="7024EF"/>
      </a:accent3>
      <a:accent4>
        <a:srgbClr val="1CE2FE"/>
      </a:accent4>
      <a:accent5>
        <a:srgbClr val="008EFF"/>
      </a:accent5>
      <a:accent6>
        <a:srgbClr val="65D5FF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金宝主题色">
    <a:dk1>
      <a:srgbClr val="000000"/>
    </a:dk1>
    <a:lt1>
      <a:srgbClr val="FFFFFF"/>
    </a:lt1>
    <a:dk2>
      <a:srgbClr val="768394"/>
    </a:dk2>
    <a:lt2>
      <a:srgbClr val="F0F0F0"/>
    </a:lt2>
    <a:accent1>
      <a:srgbClr val="004DFF"/>
    </a:accent1>
    <a:accent2>
      <a:srgbClr val="00BEFF"/>
    </a:accent2>
    <a:accent3>
      <a:srgbClr val="7024EF"/>
    </a:accent3>
    <a:accent4>
      <a:srgbClr val="1CE2FE"/>
    </a:accent4>
    <a:accent5>
      <a:srgbClr val="008EFF"/>
    </a:accent5>
    <a:accent6>
      <a:srgbClr val="65D5FF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73</Words>
  <Application>WPS 文字</Application>
  <PresentationFormat>宽屏</PresentationFormat>
  <Paragraphs>88</Paragraphs>
  <Slides>8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2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8</vt:i4>
      </vt:variant>
    </vt:vector>
  </HeadingPairs>
  <TitlesOfParts>
    <vt:vector size="35" baseType="lpstr">
      <vt:lpstr>Arial</vt:lpstr>
      <vt:lpstr>宋体</vt:lpstr>
      <vt:lpstr>Wingdings</vt:lpstr>
      <vt:lpstr>MingLiU_HKSCS-ExtB</vt:lpstr>
      <vt:lpstr>宋体-繁</vt:lpstr>
      <vt:lpstr>微软雅黑 Light</vt:lpstr>
      <vt:lpstr>Arial</vt:lpstr>
      <vt:lpstr>微软雅黑</vt:lpstr>
      <vt:lpstr>汉仪中黑KW</vt:lpstr>
      <vt:lpstr>汉仪旗黑</vt:lpstr>
      <vt:lpstr>Roboto</vt:lpstr>
      <vt:lpstr>思源黑体 CN Regular</vt:lpstr>
      <vt:lpstr>HarmonyOS Sans SC Black</vt:lpstr>
      <vt:lpstr>HarmonyOS Sans SC</vt:lpstr>
      <vt:lpstr>宋体</vt:lpstr>
      <vt:lpstr>Arial Unicode MS</vt:lpstr>
      <vt:lpstr>等线</vt:lpstr>
      <vt:lpstr>汉仪中等线KW</vt:lpstr>
      <vt:lpstr>Calibri</vt:lpstr>
      <vt:lpstr>Helvetica Neue</vt:lpstr>
      <vt:lpstr>汉仪书宋二KW</vt:lpstr>
      <vt:lpstr>苹方-简</vt:lpstr>
      <vt:lpstr>HarmonyOS Sans SC</vt:lpstr>
      <vt:lpstr>HarmonyOS Sans SC Black</vt:lpstr>
      <vt:lpstr>微软雅黑</vt:lpstr>
      <vt:lpstr>思源黑体 CN Regular</vt:lpstr>
      <vt:lpstr>主题5</vt:lpstr>
      <vt:lpstr>桥梁评价算法系统改造升级初步方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智慧管理  高效运营   工单管理平台解决方案</dc:title>
  <dc:creator>麦耀泉</dc:creator>
  <cp:lastModifiedBy>郑洪</cp:lastModifiedBy>
  <cp:revision>1519</cp:revision>
  <dcterms:created xsi:type="dcterms:W3CDTF">2025-06-26T02:50:09Z</dcterms:created>
  <dcterms:modified xsi:type="dcterms:W3CDTF">2025-06-26T02:5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6.15.2.8936</vt:lpwstr>
  </property>
  <property fmtid="{D5CDD505-2E9C-101B-9397-08002B2CF9AE}" pid="3" name="ICV">
    <vt:lpwstr>87DADED2D96DB4660AAA536838C3EE63_43</vt:lpwstr>
  </property>
</Properties>
</file>